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450" r:id="rId2"/>
    <p:sldId id="828" r:id="rId3"/>
    <p:sldId id="1154106463" r:id="rId4"/>
    <p:sldId id="258" r:id="rId5"/>
    <p:sldId id="582" r:id="rId6"/>
    <p:sldId id="260" r:id="rId7"/>
    <p:sldId id="1154106490" r:id="rId8"/>
    <p:sldId id="498" r:id="rId9"/>
    <p:sldId id="504" r:id="rId10"/>
    <p:sldId id="748" r:id="rId11"/>
    <p:sldId id="746" r:id="rId12"/>
    <p:sldId id="1154106475" r:id="rId13"/>
    <p:sldId id="795" r:id="rId14"/>
    <p:sldId id="841" r:id="rId15"/>
    <p:sldId id="752" r:id="rId16"/>
    <p:sldId id="370" r:id="rId17"/>
    <p:sldId id="311" r:id="rId18"/>
  </p:sldIdLst>
  <p:sldSz cx="12192000" cy="6858000"/>
  <p:notesSz cx="6858000" cy="9144000"/>
  <p:defaultTex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44" autoAdjust="0"/>
    <p:restoredTop sz="70823" autoAdjust="0"/>
  </p:normalViewPr>
  <p:slideViewPr>
    <p:cSldViewPr snapToGrid="0">
      <p:cViewPr varScale="1">
        <p:scale>
          <a:sx n="72" d="100"/>
          <a:sy n="72" d="100"/>
        </p:scale>
        <p:origin x="990" y="7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GB" sz="1600" baseline="0" dirty="0">
                <a:solidFill>
                  <a:schemeClr val="tx1"/>
                </a:solidFill>
              </a:rPr>
              <a:t>DTP3 coverage</a:t>
            </a:r>
          </a:p>
        </c:rich>
      </c:tx>
      <c:overlay val="0"/>
      <c:spPr>
        <a:noFill/>
        <a:ln>
          <a:noFill/>
        </a:ln>
        <a:effectLst/>
      </c:spPr>
    </c:title>
    <c:autoTitleDeleted val="0"/>
    <c:plotArea>
      <c:layout>
        <c:manualLayout>
          <c:layoutTarget val="inner"/>
          <c:xMode val="edge"/>
          <c:yMode val="edge"/>
          <c:x val="5.3700887047784154E-2"/>
          <c:y val="8.1132644836085815E-2"/>
          <c:w val="0.92979815082918815"/>
          <c:h val="0.66535481098168736"/>
        </c:manualLayout>
      </c:layout>
      <c:lineChart>
        <c:grouping val="standard"/>
        <c:varyColors val="0"/>
        <c:ser>
          <c:idx val="0"/>
          <c:order val="0"/>
          <c:tx>
            <c:strRef>
              <c:f>Sheet1!$B$1</c:f>
              <c:strCache>
                <c:ptCount val="1"/>
                <c:pt idx="0">
                  <c:v>African regio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B$2:$B$9</c:f>
              <c:numCache>
                <c:formatCode>General</c:formatCode>
                <c:ptCount val="8"/>
                <c:pt idx="0">
                  <c:v>72</c:v>
                </c:pt>
                <c:pt idx="1">
                  <c:v>72</c:v>
                </c:pt>
                <c:pt idx="2">
                  <c:v>71</c:v>
                </c:pt>
                <c:pt idx="3">
                  <c:v>70</c:v>
                </c:pt>
                <c:pt idx="4">
                  <c:v>72</c:v>
                </c:pt>
                <c:pt idx="5">
                  <c:v>72</c:v>
                </c:pt>
                <c:pt idx="6">
                  <c:v>72</c:v>
                </c:pt>
                <c:pt idx="7">
                  <c:v>72</c:v>
                </c:pt>
              </c:numCache>
            </c:numRef>
          </c:val>
          <c:smooth val="0"/>
          <c:extLst>
            <c:ext xmlns:c16="http://schemas.microsoft.com/office/drawing/2014/chart" uri="{C3380CC4-5D6E-409C-BE32-E72D297353CC}">
              <c16:uniqueId val="{00000000-843D-47A5-8EBD-EE867F6DEE1C}"/>
            </c:ext>
          </c:extLst>
        </c:ser>
        <c:ser>
          <c:idx val="1"/>
          <c:order val="1"/>
          <c:tx>
            <c:strRef>
              <c:f>Sheet1!$C$1</c:f>
              <c:strCache>
                <c:ptCount val="1"/>
                <c:pt idx="0">
                  <c:v>Eastern Mediteranean regio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C$2:$C$9</c:f>
              <c:numCache>
                <c:formatCode>General</c:formatCode>
                <c:ptCount val="8"/>
                <c:pt idx="0">
                  <c:v>76</c:v>
                </c:pt>
                <c:pt idx="1">
                  <c:v>79</c:v>
                </c:pt>
                <c:pt idx="2">
                  <c:v>78</c:v>
                </c:pt>
                <c:pt idx="3">
                  <c:v>78</c:v>
                </c:pt>
                <c:pt idx="4">
                  <c:v>79</c:v>
                </c:pt>
                <c:pt idx="5">
                  <c:v>79</c:v>
                </c:pt>
                <c:pt idx="6">
                  <c:v>81</c:v>
                </c:pt>
                <c:pt idx="7">
                  <c:v>81</c:v>
                </c:pt>
              </c:numCache>
            </c:numRef>
          </c:val>
          <c:smooth val="0"/>
          <c:extLst>
            <c:ext xmlns:c16="http://schemas.microsoft.com/office/drawing/2014/chart" uri="{C3380CC4-5D6E-409C-BE32-E72D297353CC}">
              <c16:uniqueId val="{00000001-843D-47A5-8EBD-EE867F6DEE1C}"/>
            </c:ext>
          </c:extLst>
        </c:ser>
        <c:ser>
          <c:idx val="2"/>
          <c:order val="2"/>
          <c:tx>
            <c:strRef>
              <c:f>Sheet1!$D$1</c:f>
              <c:strCache>
                <c:ptCount val="1"/>
                <c:pt idx="0">
                  <c:v>Global</c:v>
                </c:pt>
              </c:strCache>
            </c:strRef>
          </c:tx>
          <c:spPr>
            <a:ln w="76200" cap="rnd">
              <a:solidFill>
                <a:srgbClr val="EAAB00"/>
              </a:solidFill>
              <a:round/>
            </a:ln>
            <a:effectLst/>
          </c:spPr>
          <c:marker>
            <c:symbol val="circle"/>
            <c:size val="5"/>
            <c:spPr>
              <a:solidFill>
                <a:srgbClr val="EAAB00"/>
              </a:solidFill>
              <a:ln w="9525">
                <a:solidFill>
                  <a:srgbClr val="EAAB00"/>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D$2:$D$9</c:f>
              <c:numCache>
                <c:formatCode>General</c:formatCode>
                <c:ptCount val="8"/>
                <c:pt idx="0">
                  <c:v>84</c:v>
                </c:pt>
                <c:pt idx="1">
                  <c:v>85</c:v>
                </c:pt>
                <c:pt idx="2">
                  <c:v>84</c:v>
                </c:pt>
                <c:pt idx="3">
                  <c:v>84</c:v>
                </c:pt>
                <c:pt idx="4">
                  <c:v>84</c:v>
                </c:pt>
                <c:pt idx="5">
                  <c:v>85</c:v>
                </c:pt>
                <c:pt idx="6">
                  <c:v>85</c:v>
                </c:pt>
                <c:pt idx="7">
                  <c:v>85</c:v>
                </c:pt>
              </c:numCache>
            </c:numRef>
          </c:val>
          <c:smooth val="0"/>
          <c:extLst>
            <c:ext xmlns:c16="http://schemas.microsoft.com/office/drawing/2014/chart" uri="{C3380CC4-5D6E-409C-BE32-E72D297353CC}">
              <c16:uniqueId val="{00000002-843D-47A5-8EBD-EE867F6DEE1C}"/>
            </c:ext>
          </c:extLst>
        </c:ser>
        <c:ser>
          <c:idx val="3"/>
          <c:order val="3"/>
          <c:tx>
            <c:strRef>
              <c:f>Sheet1!$E$1</c:f>
              <c:strCache>
                <c:ptCount val="1"/>
                <c:pt idx="0">
                  <c:v>Gavi supported</c:v>
                </c:pt>
              </c:strCache>
            </c:strRef>
          </c:tx>
          <c:spPr>
            <a:ln w="76200" cap="rnd">
              <a:solidFill>
                <a:srgbClr val="00A1DF"/>
              </a:solidFill>
              <a:round/>
            </a:ln>
            <a:effectLst/>
          </c:spPr>
          <c:marker>
            <c:symbol val="circle"/>
            <c:size val="5"/>
            <c:spPr>
              <a:solidFill>
                <a:schemeClr val="accent4"/>
              </a:solidFill>
              <a:ln w="9525">
                <a:solidFill>
                  <a:srgbClr val="00A1DF"/>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E$2:$E$9</c:f>
              <c:numCache>
                <c:formatCode>General</c:formatCode>
                <c:ptCount val="8"/>
                <c:pt idx="0">
                  <c:v>76</c:v>
                </c:pt>
                <c:pt idx="1">
                  <c:v>77</c:v>
                </c:pt>
                <c:pt idx="2">
                  <c:v>77</c:v>
                </c:pt>
                <c:pt idx="3">
                  <c:v>76</c:v>
                </c:pt>
                <c:pt idx="4">
                  <c:v>78</c:v>
                </c:pt>
                <c:pt idx="5">
                  <c:v>79</c:v>
                </c:pt>
                <c:pt idx="6">
                  <c:v>80</c:v>
                </c:pt>
                <c:pt idx="7">
                  <c:v>80</c:v>
                </c:pt>
              </c:numCache>
            </c:numRef>
          </c:val>
          <c:smooth val="0"/>
          <c:extLst>
            <c:ext xmlns:c16="http://schemas.microsoft.com/office/drawing/2014/chart" uri="{C3380CC4-5D6E-409C-BE32-E72D297353CC}">
              <c16:uniqueId val="{00000003-843D-47A5-8EBD-EE867F6DEE1C}"/>
            </c:ext>
          </c:extLst>
        </c:ser>
        <c:ser>
          <c:idx val="4"/>
          <c:order val="4"/>
          <c:tx>
            <c:strRef>
              <c:f>Sheet1!$F$1</c:f>
              <c:strCache>
                <c:ptCount val="1"/>
                <c:pt idx="0">
                  <c:v>South East Asia region</c:v>
                </c:pt>
              </c:strCache>
            </c:strRef>
          </c:tx>
          <c:spPr>
            <a:ln w="28575" cap="rnd">
              <a:solidFill>
                <a:schemeClr val="tx1"/>
              </a:solidFill>
              <a:round/>
            </a:ln>
            <a:effectLst/>
          </c:spPr>
          <c:marker>
            <c:symbol val="circle"/>
            <c:size val="5"/>
            <c:spPr>
              <a:solidFill>
                <a:schemeClr val="accent5"/>
              </a:solidFill>
              <a:ln w="9525">
                <a:solidFill>
                  <a:schemeClr val="tx1"/>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F$2:$F$9</c:f>
              <c:numCache>
                <c:formatCode>General</c:formatCode>
                <c:ptCount val="8"/>
                <c:pt idx="0">
                  <c:v>82</c:v>
                </c:pt>
                <c:pt idx="1">
                  <c:v>84</c:v>
                </c:pt>
                <c:pt idx="2">
                  <c:v>84</c:v>
                </c:pt>
                <c:pt idx="3">
                  <c:v>85</c:v>
                </c:pt>
                <c:pt idx="4">
                  <c:v>86</c:v>
                </c:pt>
                <c:pt idx="5">
                  <c:v>87</c:v>
                </c:pt>
                <c:pt idx="6">
                  <c:v>88</c:v>
                </c:pt>
                <c:pt idx="7">
                  <c:v>88</c:v>
                </c:pt>
              </c:numCache>
            </c:numRef>
          </c:val>
          <c:smooth val="0"/>
          <c:extLst>
            <c:ext xmlns:c16="http://schemas.microsoft.com/office/drawing/2014/chart" uri="{C3380CC4-5D6E-409C-BE32-E72D297353CC}">
              <c16:uniqueId val="{00000004-843D-47A5-8EBD-EE867F6DEE1C}"/>
            </c:ext>
          </c:extLst>
        </c:ser>
        <c:ser>
          <c:idx val="5"/>
          <c:order val="5"/>
          <c:tx>
            <c:strRef>
              <c:f>Sheet1!$G$1</c:f>
              <c:strCache>
                <c:ptCount val="1"/>
                <c:pt idx="0">
                  <c:v>Region of the Americas</c:v>
                </c:pt>
              </c:strCache>
            </c:strRef>
          </c:tx>
          <c:spPr>
            <a:ln w="28575" cap="rnd">
              <a:solidFill>
                <a:srgbClr val="C00000"/>
              </a:solidFill>
              <a:round/>
            </a:ln>
            <a:effectLst/>
          </c:spPr>
          <c:marker>
            <c:symbol val="circle"/>
            <c:size val="5"/>
            <c:spPr>
              <a:solidFill>
                <a:schemeClr val="bg1">
                  <a:lumMod val="95000"/>
                </a:schemeClr>
              </a:solidFill>
              <a:ln w="9525">
                <a:solidFill>
                  <a:srgbClr val="C00000"/>
                </a:solidFill>
              </a:ln>
              <a:effectLst/>
            </c:spPr>
          </c:marker>
          <c:dPt>
            <c:idx val="3"/>
            <c:marker>
              <c:spPr>
                <a:solidFill>
                  <a:schemeClr val="accent2">
                    <a:lumMod val="20000"/>
                    <a:lumOff val="80000"/>
                  </a:schemeClr>
                </a:solidFill>
                <a:ln w="9525">
                  <a:solidFill>
                    <a:srgbClr val="C00000"/>
                  </a:solidFill>
                </a:ln>
                <a:effectLst/>
              </c:spPr>
            </c:marker>
            <c:bubble3D val="0"/>
            <c:extLst>
              <c:ext xmlns:c16="http://schemas.microsoft.com/office/drawing/2014/chart" uri="{C3380CC4-5D6E-409C-BE32-E72D297353CC}">
                <c16:uniqueId val="{00000009-843D-47A5-8EBD-EE867F6DEE1C}"/>
              </c:ext>
            </c:extLst>
          </c:dPt>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G$2:$G$9</c:f>
              <c:numCache>
                <c:formatCode>General</c:formatCode>
                <c:ptCount val="8"/>
                <c:pt idx="0">
                  <c:v>94</c:v>
                </c:pt>
                <c:pt idx="1">
                  <c:v>94</c:v>
                </c:pt>
                <c:pt idx="2">
                  <c:v>93</c:v>
                </c:pt>
                <c:pt idx="3">
                  <c:v>91</c:v>
                </c:pt>
                <c:pt idx="4">
                  <c:v>90</c:v>
                </c:pt>
                <c:pt idx="5">
                  <c:v>91</c:v>
                </c:pt>
                <c:pt idx="6">
                  <c:v>91</c:v>
                </c:pt>
                <c:pt idx="7">
                  <c:v>91</c:v>
                </c:pt>
              </c:numCache>
            </c:numRef>
          </c:val>
          <c:smooth val="0"/>
          <c:extLst>
            <c:ext xmlns:c16="http://schemas.microsoft.com/office/drawing/2014/chart" uri="{C3380CC4-5D6E-409C-BE32-E72D297353CC}">
              <c16:uniqueId val="{00000005-843D-47A5-8EBD-EE867F6DEE1C}"/>
            </c:ext>
          </c:extLst>
        </c:ser>
        <c:ser>
          <c:idx val="6"/>
          <c:order val="6"/>
          <c:tx>
            <c:strRef>
              <c:f>Sheet1!$H$1</c:f>
              <c:strCache>
                <c:ptCount val="1"/>
                <c:pt idx="0">
                  <c:v>European region</c:v>
                </c:pt>
              </c:strCache>
            </c:strRef>
          </c:tx>
          <c:spPr>
            <a:ln w="28575" cap="rnd">
              <a:solidFill>
                <a:srgbClr val="7030A0"/>
              </a:solidFill>
              <a:round/>
            </a:ln>
            <a:effectLst/>
          </c:spPr>
          <c:marker>
            <c:symbol val="circle"/>
            <c:size val="5"/>
            <c:spPr>
              <a:solidFill>
                <a:schemeClr val="accent1">
                  <a:lumMod val="60000"/>
                </a:schemeClr>
              </a:solidFill>
              <a:ln w="9525">
                <a:solidFill>
                  <a:srgbClr val="7030A0"/>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H$2:$H$9</c:f>
              <c:numCache>
                <c:formatCode>General</c:formatCode>
                <c:ptCount val="8"/>
                <c:pt idx="0">
                  <c:v>94</c:v>
                </c:pt>
                <c:pt idx="1">
                  <c:v>95</c:v>
                </c:pt>
                <c:pt idx="2">
                  <c:v>96</c:v>
                </c:pt>
                <c:pt idx="3">
                  <c:v>96</c:v>
                </c:pt>
                <c:pt idx="4">
                  <c:v>93</c:v>
                </c:pt>
                <c:pt idx="5">
                  <c:v>93</c:v>
                </c:pt>
                <c:pt idx="6">
                  <c:v>92</c:v>
                </c:pt>
                <c:pt idx="7">
                  <c:v>94</c:v>
                </c:pt>
              </c:numCache>
            </c:numRef>
          </c:val>
          <c:smooth val="0"/>
          <c:extLst>
            <c:ext xmlns:c16="http://schemas.microsoft.com/office/drawing/2014/chart" uri="{C3380CC4-5D6E-409C-BE32-E72D297353CC}">
              <c16:uniqueId val="{00000006-843D-47A5-8EBD-EE867F6DEE1C}"/>
            </c:ext>
          </c:extLst>
        </c:ser>
        <c:ser>
          <c:idx val="7"/>
          <c:order val="7"/>
          <c:tx>
            <c:strRef>
              <c:f>Sheet1!$I$1</c:f>
              <c:strCache>
                <c:ptCount val="1"/>
                <c:pt idx="0">
                  <c:v>Western Pacific region</c:v>
                </c:pt>
              </c:strCache>
            </c:strRef>
          </c:tx>
          <c:spPr>
            <a:ln w="28575" cap="rnd">
              <a:solidFill>
                <a:schemeClr val="accent2">
                  <a:lumMod val="60000"/>
                </a:schemeClr>
              </a:solidFill>
              <a:round/>
            </a:ln>
            <a:effectLst/>
          </c:spPr>
          <c:marker>
            <c:symbol val="circle"/>
            <c:size val="5"/>
            <c:spPr>
              <a:solidFill>
                <a:schemeClr val="accent1"/>
              </a:solidFill>
              <a:ln w="9525">
                <a:solidFill>
                  <a:schemeClr val="accent2">
                    <a:lumMod val="60000"/>
                  </a:schemeClr>
                </a:solidFill>
              </a:ln>
              <a:effectLst/>
            </c:spPr>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I$2:$I$9</c:f>
              <c:numCache>
                <c:formatCode>General</c:formatCode>
                <c:ptCount val="8"/>
                <c:pt idx="0">
                  <c:v>96</c:v>
                </c:pt>
                <c:pt idx="1">
                  <c:v>97</c:v>
                </c:pt>
                <c:pt idx="2">
                  <c:v>97</c:v>
                </c:pt>
                <c:pt idx="3">
                  <c:v>95</c:v>
                </c:pt>
                <c:pt idx="4">
                  <c:v>95</c:v>
                </c:pt>
                <c:pt idx="5">
                  <c:v>94</c:v>
                </c:pt>
                <c:pt idx="6">
                  <c:v>97</c:v>
                </c:pt>
                <c:pt idx="7">
                  <c:v>97</c:v>
                </c:pt>
              </c:numCache>
            </c:numRef>
          </c:val>
          <c:smooth val="0"/>
          <c:extLst>
            <c:ext xmlns:c16="http://schemas.microsoft.com/office/drawing/2014/chart" uri="{C3380CC4-5D6E-409C-BE32-E72D297353CC}">
              <c16:uniqueId val="{00000007-843D-47A5-8EBD-EE867F6DEE1C}"/>
            </c:ext>
          </c:extLst>
        </c:ser>
        <c:dLbls>
          <c:showLegendKey val="0"/>
          <c:showVal val="0"/>
          <c:showCatName val="0"/>
          <c:showSerName val="0"/>
          <c:showPercent val="0"/>
          <c:showBubbleSize val="0"/>
        </c:dLbls>
        <c:marker val="1"/>
        <c:smooth val="0"/>
        <c:axId val="173777664"/>
        <c:axId val="173779584"/>
      </c:lineChart>
      <c:catAx>
        <c:axId val="1737776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3779584"/>
        <c:crosses val="autoZero"/>
        <c:auto val="1"/>
        <c:lblAlgn val="ctr"/>
        <c:lblOffset val="100"/>
        <c:noMultiLvlLbl val="0"/>
      </c:catAx>
      <c:valAx>
        <c:axId val="173779584"/>
        <c:scaling>
          <c:orientation val="minMax"/>
          <c:min val="70"/>
        </c:scaling>
        <c:delete val="0"/>
        <c:axPos val="l"/>
        <c:majorGridlines>
          <c:spPr>
            <a:ln w="952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3777664"/>
        <c:crosses val="autoZero"/>
        <c:crossBetween val="between"/>
      </c:valAx>
      <c:spPr>
        <a:noFill/>
        <a:ln>
          <a:solidFill>
            <a:schemeClr val="tx1"/>
          </a:solidFill>
        </a:ln>
        <a:effectLst/>
      </c:spPr>
    </c:plotArea>
    <c:legend>
      <c:legendPos val="b"/>
      <c:layout>
        <c:manualLayout>
          <c:xMode val="edge"/>
          <c:yMode val="edge"/>
          <c:x val="0.13975040136761413"/>
          <c:y val="0.83945646471788515"/>
          <c:w val="0.72414998054457635"/>
          <c:h val="0.136958540219317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8.4563272568532952E-3"/>
          <c:w val="0.95149750161790725"/>
          <c:h val="0.72755054677268738"/>
        </c:manualLayout>
      </c:layout>
      <c:barChart>
        <c:barDir val="bar"/>
        <c:grouping val="clustered"/>
        <c:varyColors val="0"/>
        <c:ser>
          <c:idx val="0"/>
          <c:order val="0"/>
          <c:tx>
            <c:strRef>
              <c:f>Sheet1!$B$1</c:f>
              <c:strCache>
                <c:ptCount val="1"/>
                <c:pt idx="0">
                  <c:v>UNVACCINATED</c:v>
                </c:pt>
              </c:strCache>
            </c:strRef>
          </c:tx>
          <c:spPr>
            <a:solidFill>
              <a:schemeClr val="tx2"/>
            </a:solidFill>
            <a:ln>
              <a:solidFill>
                <a:schemeClr val="tx2"/>
              </a:solidFill>
            </a:ln>
            <a:effectLst>
              <a:outerShdw blurRad="63500" sx="102000" sy="102000" algn="ctr" rotWithShape="0">
                <a:prstClr val="black">
                  <a:alpha val="20000"/>
                </a:prstClr>
              </a:outerShdw>
            </a:effectLst>
          </c:spPr>
          <c:invertIfNegative val="0"/>
          <c:dPt>
            <c:idx val="0"/>
            <c:invertIfNegative val="0"/>
            <c:bubble3D val="0"/>
            <c:spPr>
              <a:solidFill>
                <a:schemeClr val="tx2"/>
              </a:solidFill>
              <a:ln>
                <a:solidFill>
                  <a:schemeClr val="tx2"/>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44DA-475B-8B2E-40B78B0A5E71}"/>
              </c:ext>
            </c:extLst>
          </c:dPt>
          <c:dPt>
            <c:idx val="1"/>
            <c:invertIfNegative val="0"/>
            <c:bubble3D val="0"/>
            <c:spPr>
              <a:solidFill>
                <a:schemeClr val="tx2"/>
              </a:solidFill>
              <a:ln>
                <a:solidFill>
                  <a:schemeClr val="tx2"/>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44DA-475B-8B2E-40B78B0A5E71}"/>
              </c:ext>
            </c:extLst>
          </c:dPt>
          <c:dPt>
            <c:idx val="2"/>
            <c:invertIfNegative val="0"/>
            <c:bubble3D val="0"/>
            <c:spPr>
              <a:solidFill>
                <a:schemeClr val="tx2"/>
              </a:solidFill>
              <a:ln>
                <a:solidFill>
                  <a:schemeClr val="tx2"/>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44DA-475B-8B2E-40B78B0A5E71}"/>
              </c:ext>
            </c:extLst>
          </c:dPt>
          <c:dPt>
            <c:idx val="3"/>
            <c:invertIfNegative val="0"/>
            <c:bubble3D val="0"/>
            <c:spPr>
              <a:solidFill>
                <a:schemeClr val="tx2"/>
              </a:solidFill>
              <a:ln>
                <a:solidFill>
                  <a:schemeClr val="tx2"/>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44DA-475B-8B2E-40B78B0A5E71}"/>
              </c:ext>
            </c:extLst>
          </c:dPt>
          <c:dPt>
            <c:idx val="4"/>
            <c:invertIfNegative val="0"/>
            <c:bubble3D val="0"/>
            <c:spPr>
              <a:solidFill>
                <a:schemeClr val="tx2"/>
              </a:solidFill>
              <a:ln>
                <a:solidFill>
                  <a:schemeClr val="tx2"/>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44DA-475B-8B2E-40B78B0A5E7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ther</c:v>
                </c:pt>
                <c:pt idx="1">
                  <c:v>Service delivery issues</c:v>
                </c:pt>
                <c:pt idx="2">
                  <c:v>Not prioritised</c:v>
                </c:pt>
                <c:pt idx="3">
                  <c:v>Parents knowledge</c:v>
                </c:pt>
                <c:pt idx="4">
                  <c:v>Mistrust or fear</c:v>
                </c:pt>
              </c:strCache>
            </c:strRef>
          </c:cat>
          <c:val>
            <c:numRef>
              <c:f>Sheet1!$B$2:$B$6</c:f>
              <c:numCache>
                <c:formatCode>0%</c:formatCode>
                <c:ptCount val="5"/>
                <c:pt idx="0">
                  <c:v>0.06</c:v>
                </c:pt>
                <c:pt idx="1">
                  <c:v>0.21</c:v>
                </c:pt>
                <c:pt idx="2">
                  <c:v>0.15</c:v>
                </c:pt>
                <c:pt idx="3">
                  <c:v>0.36</c:v>
                </c:pt>
                <c:pt idx="4">
                  <c:v>0.21</c:v>
                </c:pt>
              </c:numCache>
            </c:numRef>
          </c:val>
          <c:extLst>
            <c:ext xmlns:c16="http://schemas.microsoft.com/office/drawing/2014/chart" uri="{C3380CC4-5D6E-409C-BE32-E72D297353CC}">
              <c16:uniqueId val="{00000008-44DA-475B-8B2E-40B78B0A5E71}"/>
            </c:ext>
          </c:extLst>
        </c:ser>
        <c:dLbls>
          <c:showLegendKey val="0"/>
          <c:showVal val="0"/>
          <c:showCatName val="0"/>
          <c:showSerName val="0"/>
          <c:showPercent val="0"/>
          <c:showBubbleSize val="0"/>
        </c:dLbls>
        <c:gapWidth val="100"/>
        <c:axId val="157718360"/>
        <c:axId val="342045280"/>
      </c:barChart>
      <c:catAx>
        <c:axId val="157718360"/>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42045280"/>
        <c:crosses val="autoZero"/>
        <c:auto val="1"/>
        <c:lblAlgn val="ctr"/>
        <c:lblOffset val="100"/>
        <c:noMultiLvlLbl val="0"/>
      </c:catAx>
      <c:valAx>
        <c:axId val="342045280"/>
        <c:scaling>
          <c:orientation val="minMax"/>
        </c:scaling>
        <c:delete val="1"/>
        <c:axPos val="b"/>
        <c:majorGridlines>
          <c:spPr>
            <a:ln w="9525" cap="flat" cmpd="sng" algn="ctr">
              <a:noFill/>
              <a:round/>
            </a:ln>
            <a:effectLst/>
          </c:spPr>
        </c:majorGridlines>
        <c:numFmt formatCode="0%" sourceLinked="1"/>
        <c:majorTickMark val="out"/>
        <c:minorTickMark val="none"/>
        <c:tickLblPos val="nextTo"/>
        <c:crossAx val="157718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8.4563272568532952E-3"/>
          <c:w val="0.95149750161790725"/>
          <c:h val="0.72755054677268738"/>
        </c:manualLayout>
      </c:layout>
      <c:pie3DChart>
        <c:varyColors val="1"/>
        <c:ser>
          <c:idx val="0"/>
          <c:order val="0"/>
          <c:tx>
            <c:strRef>
              <c:f>Sheet1!$B$1</c:f>
              <c:strCache>
                <c:ptCount val="1"/>
                <c:pt idx="0">
                  <c:v>UNVACCINATED</c:v>
                </c:pt>
              </c:strCache>
            </c:strRef>
          </c:tx>
          <c:explosion val="21"/>
          <c:dPt>
            <c:idx val="0"/>
            <c:bubble3D val="0"/>
            <c:explosion val="84"/>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44DA-475B-8B2E-40B78B0A5E71}"/>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44DA-475B-8B2E-40B78B0A5E71}"/>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44DA-475B-8B2E-40B78B0A5E71}"/>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44DA-475B-8B2E-40B78B0A5E71}"/>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44DA-475B-8B2E-40B78B0A5E71}"/>
              </c:ext>
            </c:extLst>
          </c:dPt>
          <c:dLbls>
            <c:delete val="1"/>
          </c:dLbls>
          <c:cat>
            <c:strRef>
              <c:f>Sheet1!$A$2:$A$6</c:f>
              <c:strCache>
                <c:ptCount val="5"/>
                <c:pt idx="0">
                  <c:v>Service delivery issues</c:v>
                </c:pt>
                <c:pt idx="1">
                  <c:v>Parents knowledge</c:v>
                </c:pt>
                <c:pt idx="2">
                  <c:v>Mistrust or fear</c:v>
                </c:pt>
                <c:pt idx="3">
                  <c:v>Child travelling</c:v>
                </c:pt>
                <c:pt idx="4">
                  <c:v>Other</c:v>
                </c:pt>
              </c:strCache>
            </c:strRef>
          </c:cat>
          <c:val>
            <c:numRef>
              <c:f>Sheet1!$B$2:$B$6</c:f>
              <c:numCache>
                <c:formatCode>General</c:formatCode>
                <c:ptCount val="5"/>
                <c:pt idx="0">
                  <c:v>12</c:v>
                </c:pt>
                <c:pt idx="1">
                  <c:v>33</c:v>
                </c:pt>
                <c:pt idx="2">
                  <c:v>32</c:v>
                </c:pt>
                <c:pt idx="3">
                  <c:v>13</c:v>
                </c:pt>
                <c:pt idx="4">
                  <c:v>10</c:v>
                </c:pt>
              </c:numCache>
            </c:numRef>
          </c:val>
          <c:extLst>
            <c:ext xmlns:c16="http://schemas.microsoft.com/office/drawing/2014/chart" uri="{C3380CC4-5D6E-409C-BE32-E72D297353CC}">
              <c16:uniqueId val="{00000008-44DA-475B-8B2E-40B78B0A5E71}"/>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8.4563272568532952E-3"/>
          <c:w val="0.95149750161790725"/>
          <c:h val="0.72755054677268738"/>
        </c:manualLayout>
      </c:layout>
      <c:pie3DChart>
        <c:varyColors val="1"/>
        <c:ser>
          <c:idx val="0"/>
          <c:order val="0"/>
          <c:tx>
            <c:strRef>
              <c:f>Sheet1!$B$1</c:f>
              <c:strCache>
                <c:ptCount val="1"/>
                <c:pt idx="0">
                  <c:v>UNVACCINATED</c:v>
                </c:pt>
              </c:strCache>
            </c:strRef>
          </c:tx>
          <c:explosion val="21"/>
          <c:dPt>
            <c:idx val="0"/>
            <c:bubble3D val="0"/>
            <c:explosion val="84"/>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44DA-475B-8B2E-40B78B0A5E71}"/>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44DA-475B-8B2E-40B78B0A5E71}"/>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44DA-475B-8B2E-40B78B0A5E71}"/>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44DA-475B-8B2E-40B78B0A5E71}"/>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44DA-475B-8B2E-40B78B0A5E71}"/>
              </c:ext>
            </c:extLst>
          </c:dPt>
          <c:dLbls>
            <c:delete val="1"/>
          </c:dLbls>
          <c:cat>
            <c:strRef>
              <c:f>Sheet1!$A$2:$A$6</c:f>
              <c:strCache>
                <c:ptCount val="5"/>
                <c:pt idx="0">
                  <c:v>Service delivery issues</c:v>
                </c:pt>
                <c:pt idx="1">
                  <c:v>Parents knowledge</c:v>
                </c:pt>
                <c:pt idx="2">
                  <c:v>Mistrust or fear</c:v>
                </c:pt>
                <c:pt idx="3">
                  <c:v>Child travelling</c:v>
                </c:pt>
                <c:pt idx="4">
                  <c:v>Other</c:v>
                </c:pt>
              </c:strCache>
            </c:strRef>
          </c:cat>
          <c:val>
            <c:numRef>
              <c:f>Sheet1!$B$2:$B$6</c:f>
              <c:numCache>
                <c:formatCode>General</c:formatCode>
                <c:ptCount val="5"/>
                <c:pt idx="0">
                  <c:v>12</c:v>
                </c:pt>
                <c:pt idx="1">
                  <c:v>33</c:v>
                </c:pt>
                <c:pt idx="2">
                  <c:v>32</c:v>
                </c:pt>
                <c:pt idx="3">
                  <c:v>13</c:v>
                </c:pt>
                <c:pt idx="4">
                  <c:v>10</c:v>
                </c:pt>
              </c:numCache>
            </c:numRef>
          </c:val>
          <c:extLst>
            <c:ext xmlns:c16="http://schemas.microsoft.com/office/drawing/2014/chart" uri="{C3380CC4-5D6E-409C-BE32-E72D297353CC}">
              <c16:uniqueId val="{00000008-44DA-475B-8B2E-40B78B0A5E71}"/>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64759635437888"/>
          <c:y val="7.4773910347415998E-2"/>
          <c:w val="0.56055571270357984"/>
          <c:h val="0.72755054677268738"/>
        </c:manualLayout>
      </c:layout>
      <c:barChart>
        <c:barDir val="bar"/>
        <c:grouping val="clustered"/>
        <c:varyColors val="0"/>
        <c:ser>
          <c:idx val="0"/>
          <c:order val="0"/>
          <c:tx>
            <c:strRef>
              <c:f>Sheet1!$B$1</c:f>
              <c:strCache>
                <c:ptCount val="1"/>
                <c:pt idx="0">
                  <c:v>UNVACCINATED</c:v>
                </c:pt>
              </c:strCache>
            </c:strRef>
          </c:tx>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invertIfNegative val="0"/>
          <c:dPt>
            <c:idx val="0"/>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77D5-42BB-B178-3B609338ACCA}"/>
              </c:ext>
            </c:extLst>
          </c:dPt>
          <c:dPt>
            <c:idx val="1"/>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77D5-42BB-B178-3B609338ACCA}"/>
              </c:ext>
            </c:extLst>
          </c:dPt>
          <c:dPt>
            <c:idx val="2"/>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77D5-42BB-B178-3B609338ACCA}"/>
              </c:ext>
            </c:extLst>
          </c:dPt>
          <c:dPt>
            <c:idx val="3"/>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77D5-42BB-B178-3B609338ACCA}"/>
              </c:ext>
            </c:extLst>
          </c:dPt>
          <c:dPt>
            <c:idx val="4"/>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77D5-42BB-B178-3B609338ACCA}"/>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77D5-42BB-B178-3B609338ACCA}"/>
                </c:ext>
              </c:extLst>
            </c:dLbl>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77D5-42BB-B178-3B609338ACCA}"/>
                </c:ext>
              </c:extLst>
            </c:dLbl>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77D5-42BB-B178-3B609338ACCA}"/>
                </c:ext>
              </c:extLst>
            </c:dLbl>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77D5-42BB-B178-3B609338ACCA}"/>
                </c:ext>
              </c:extLst>
            </c:dLbl>
            <c:dLbl>
              <c:idx val="4"/>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9-77D5-42BB-B178-3B609338ACC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ck of vaccinators/vaccines</c:v>
                </c:pt>
                <c:pt idx="1">
                  <c:v>Distance from facility</c:v>
                </c:pt>
                <c:pt idx="2">
                  <c:v>Mother/caregiver too busy</c:v>
                </c:pt>
                <c:pt idx="3">
                  <c:v>Unaware of need</c:v>
                </c:pt>
                <c:pt idx="4">
                  <c:v>Fear of side effects</c:v>
                </c:pt>
              </c:strCache>
            </c:strRef>
          </c:cat>
          <c:val>
            <c:numRef>
              <c:f>Sheet1!$B$2:$B$6</c:f>
              <c:numCache>
                <c:formatCode>0.00%</c:formatCode>
                <c:ptCount val="5"/>
                <c:pt idx="0">
                  <c:v>0.107</c:v>
                </c:pt>
                <c:pt idx="1">
                  <c:v>0.13800000000000001</c:v>
                </c:pt>
                <c:pt idx="2">
                  <c:v>0.16600000000000001</c:v>
                </c:pt>
                <c:pt idx="3">
                  <c:v>0.35299999999999998</c:v>
                </c:pt>
                <c:pt idx="4" formatCode="0%">
                  <c:v>0.23</c:v>
                </c:pt>
              </c:numCache>
            </c:numRef>
          </c:val>
          <c:extLst>
            <c:ext xmlns:c16="http://schemas.microsoft.com/office/drawing/2014/chart" uri="{C3380CC4-5D6E-409C-BE32-E72D297353CC}">
              <c16:uniqueId val="{0000000A-77D5-42BB-B178-3B609338ACCA}"/>
            </c:ext>
          </c:extLst>
        </c:ser>
        <c:dLbls>
          <c:showLegendKey val="0"/>
          <c:showVal val="0"/>
          <c:showCatName val="0"/>
          <c:showSerName val="0"/>
          <c:showPercent val="0"/>
          <c:showBubbleSize val="0"/>
        </c:dLbls>
        <c:gapWidth val="100"/>
        <c:axId val="342048416"/>
        <c:axId val="342048024"/>
      </c:barChart>
      <c:valAx>
        <c:axId val="342048024"/>
        <c:scaling>
          <c:orientation val="minMax"/>
        </c:scaling>
        <c:delete val="1"/>
        <c:axPos val="b"/>
        <c:majorGridlines>
          <c:spPr>
            <a:ln w="9525" cap="flat" cmpd="sng" algn="ctr">
              <a:noFill/>
              <a:round/>
            </a:ln>
            <a:effectLst/>
          </c:spPr>
        </c:majorGridlines>
        <c:numFmt formatCode="0.00%" sourceLinked="1"/>
        <c:majorTickMark val="out"/>
        <c:minorTickMark val="none"/>
        <c:tickLblPos val="nextTo"/>
        <c:crossAx val="342048416"/>
        <c:crosses val="autoZero"/>
        <c:crossBetween val="between"/>
      </c:valAx>
      <c:catAx>
        <c:axId val="342048416"/>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4204802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96918005822387E-3"/>
          <c:y val="6.3229406184905385E-2"/>
          <c:w val="0.95149750161790725"/>
          <c:h val="0.72755054677268738"/>
        </c:manualLayout>
      </c:layout>
      <c:barChart>
        <c:barDir val="bar"/>
        <c:grouping val="clustered"/>
        <c:varyColors val="0"/>
        <c:ser>
          <c:idx val="0"/>
          <c:order val="0"/>
          <c:tx>
            <c:strRef>
              <c:f>Sheet1!$B$1</c:f>
              <c:strCache>
                <c:ptCount val="1"/>
                <c:pt idx="0">
                  <c:v>UNVACCINATED</c:v>
                </c:pt>
              </c:strCache>
            </c:strRef>
          </c:tx>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invertIfNegative val="0"/>
          <c:dPt>
            <c:idx val="0"/>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5980-460C-BF66-60BD3E634D9C}"/>
              </c:ext>
            </c:extLst>
          </c:dPt>
          <c:dPt>
            <c:idx val="1"/>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5980-460C-BF66-60BD3E634D9C}"/>
              </c:ext>
            </c:extLst>
          </c:dPt>
          <c:dPt>
            <c:idx val="2"/>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5980-460C-BF66-60BD3E634D9C}"/>
              </c:ext>
            </c:extLst>
          </c:dPt>
          <c:dPt>
            <c:idx val="3"/>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5980-460C-BF66-60BD3E634D9C}"/>
              </c:ext>
            </c:extLst>
          </c:dPt>
          <c:dPt>
            <c:idx val="4"/>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5980-460C-BF66-60BD3E634D9C}"/>
              </c:ext>
            </c:extLst>
          </c:dPt>
          <c:dPt>
            <c:idx val="5"/>
            <c:invertIfNegative val="0"/>
            <c:bubble3D val="0"/>
            <c:spPr>
              <a:solidFill>
                <a:schemeClr val="tx1">
                  <a:lumMod val="50000"/>
                  <a:lumOff val="50000"/>
                </a:schemeClr>
              </a:solidFill>
              <a:ln>
                <a:solidFill>
                  <a:schemeClr val="tx1">
                    <a:lumMod val="50000"/>
                    <a:lumOff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5C74-4F3F-9E47-BAF598E5DF9D}"/>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c:v>
                </c:pt>
                <c:pt idx="1">
                  <c:v>Lack of  vaccinators/vaccines</c:v>
                </c:pt>
                <c:pt idx="2">
                  <c:v>Mother/caregiver too busy</c:v>
                </c:pt>
                <c:pt idx="3">
                  <c:v>Postponement for another time</c:v>
                </c:pt>
                <c:pt idx="4">
                  <c:v>Unaware of need for additional doses</c:v>
                </c:pt>
                <c:pt idx="5">
                  <c:v>Fear of side effects</c:v>
                </c:pt>
              </c:strCache>
            </c:strRef>
          </c:cat>
          <c:val>
            <c:numRef>
              <c:f>Sheet1!$B$2:$B$7</c:f>
              <c:numCache>
                <c:formatCode>0.00%</c:formatCode>
                <c:ptCount val="6"/>
                <c:pt idx="0">
                  <c:v>0.20300000000000001</c:v>
                </c:pt>
                <c:pt idx="1">
                  <c:v>0.17699999999999999</c:v>
                </c:pt>
                <c:pt idx="2">
                  <c:v>0.14799999999999999</c:v>
                </c:pt>
                <c:pt idx="3">
                  <c:v>8.6999999999999994E-2</c:v>
                </c:pt>
                <c:pt idx="4">
                  <c:v>0.27300000000000002</c:v>
                </c:pt>
                <c:pt idx="5">
                  <c:v>0.112</c:v>
                </c:pt>
              </c:numCache>
            </c:numRef>
          </c:val>
          <c:extLst>
            <c:ext xmlns:c16="http://schemas.microsoft.com/office/drawing/2014/chart" uri="{C3380CC4-5D6E-409C-BE32-E72D297353CC}">
              <c16:uniqueId val="{0000000A-5980-460C-BF66-60BD3E634D9C}"/>
            </c:ext>
          </c:extLst>
        </c:ser>
        <c:dLbls>
          <c:showLegendKey val="0"/>
          <c:showVal val="0"/>
          <c:showCatName val="0"/>
          <c:showSerName val="0"/>
          <c:showPercent val="0"/>
          <c:showBubbleSize val="0"/>
        </c:dLbls>
        <c:gapWidth val="100"/>
        <c:axId val="342049592"/>
        <c:axId val="342049200"/>
      </c:barChart>
      <c:valAx>
        <c:axId val="342049200"/>
        <c:scaling>
          <c:orientation val="minMax"/>
        </c:scaling>
        <c:delete val="1"/>
        <c:axPos val="b"/>
        <c:majorGridlines>
          <c:spPr>
            <a:ln w="9525" cap="flat" cmpd="sng" algn="ctr">
              <a:noFill/>
              <a:round/>
            </a:ln>
            <a:effectLst/>
          </c:spPr>
        </c:majorGridlines>
        <c:numFmt formatCode="0.00%" sourceLinked="1"/>
        <c:majorTickMark val="out"/>
        <c:minorTickMark val="none"/>
        <c:tickLblPos val="nextTo"/>
        <c:crossAx val="342049592"/>
        <c:crosses val="autoZero"/>
        <c:crossBetween val="between"/>
      </c:valAx>
      <c:catAx>
        <c:axId val="342049592"/>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4204920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C3C019-6512-4078-A0DF-A41E1FED968E}"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en-GB"/>
        </a:p>
      </dgm:t>
    </dgm:pt>
    <dgm:pt modelId="{E68F166D-FA3D-4EEB-BC22-C56D1DAF8866}">
      <dgm:prSet phldrT="[Text]"/>
      <dgm:spPr/>
      <dgm:t>
        <a:bodyPr/>
        <a:lstStyle/>
        <a:p>
          <a:r>
            <a:rPr lang="en-GB" dirty="0"/>
            <a:t>Knowledge</a:t>
          </a:r>
        </a:p>
      </dgm:t>
    </dgm:pt>
    <dgm:pt modelId="{13D1DFA8-8BBF-4844-82DA-E6C05FAC35B1}" type="parTrans" cxnId="{191F400E-64EB-41FD-87C7-2862EF0A75F1}">
      <dgm:prSet/>
      <dgm:spPr/>
      <dgm:t>
        <a:bodyPr/>
        <a:lstStyle/>
        <a:p>
          <a:endParaRPr lang="en-GB"/>
        </a:p>
      </dgm:t>
    </dgm:pt>
    <dgm:pt modelId="{6803606A-7361-4060-AB23-1E0C3FD970CD}" type="sibTrans" cxnId="{191F400E-64EB-41FD-87C7-2862EF0A75F1}">
      <dgm:prSet/>
      <dgm:spPr/>
      <dgm:t>
        <a:bodyPr/>
        <a:lstStyle/>
        <a:p>
          <a:endParaRPr lang="en-GB"/>
        </a:p>
      </dgm:t>
    </dgm:pt>
    <dgm:pt modelId="{B0D51719-193C-4B63-87E9-A40AFC7FEC32}">
      <dgm:prSet phldrT="[Text]" phldr="1"/>
      <dgm:spPr/>
      <dgm:t>
        <a:bodyPr/>
        <a:lstStyle/>
        <a:p>
          <a:endParaRPr lang="en-GB"/>
        </a:p>
      </dgm:t>
    </dgm:pt>
    <dgm:pt modelId="{274936F2-310B-45DE-9521-9C809424A4A1}" type="parTrans" cxnId="{D82CDE1C-C58E-4C67-B10E-B04814DDABA3}">
      <dgm:prSet/>
      <dgm:spPr/>
      <dgm:t>
        <a:bodyPr/>
        <a:lstStyle/>
        <a:p>
          <a:endParaRPr lang="en-GB"/>
        </a:p>
      </dgm:t>
    </dgm:pt>
    <dgm:pt modelId="{511675A4-1CE5-4375-8137-EA47A92D5094}" type="sibTrans" cxnId="{D82CDE1C-C58E-4C67-B10E-B04814DDABA3}">
      <dgm:prSet/>
      <dgm:spPr/>
      <dgm:t>
        <a:bodyPr/>
        <a:lstStyle/>
        <a:p>
          <a:endParaRPr lang="en-GB"/>
        </a:p>
      </dgm:t>
    </dgm:pt>
    <dgm:pt modelId="{AA49C5F4-EE69-4126-8170-7F1124F9267A}" type="pres">
      <dgm:prSet presAssocID="{7DC3C019-6512-4078-A0DF-A41E1FED968E}" presName="Name0" presStyleCnt="0">
        <dgm:presLayoutVars>
          <dgm:chMax val="4"/>
          <dgm:resizeHandles val="exact"/>
        </dgm:presLayoutVars>
      </dgm:prSet>
      <dgm:spPr/>
    </dgm:pt>
    <dgm:pt modelId="{FBCE5D7E-F536-404C-A292-91366F1DBF9D}" type="pres">
      <dgm:prSet presAssocID="{7DC3C019-6512-4078-A0DF-A41E1FED968E}" presName="ellipse" presStyleLbl="trBgShp" presStyleIdx="0" presStyleCnt="1"/>
      <dgm:spPr/>
    </dgm:pt>
    <dgm:pt modelId="{46E0F5D3-C848-4A84-8D4E-13747589BD0B}" type="pres">
      <dgm:prSet presAssocID="{7DC3C019-6512-4078-A0DF-A41E1FED968E}" presName="arrow1" presStyleLbl="fgShp" presStyleIdx="0" presStyleCnt="1"/>
      <dgm:spPr/>
    </dgm:pt>
    <dgm:pt modelId="{9BBE100A-EF12-4B20-8D9E-617BE70FCE8B}" type="pres">
      <dgm:prSet presAssocID="{7DC3C019-6512-4078-A0DF-A41E1FED968E}" presName="rectangle" presStyleLbl="revTx" presStyleIdx="0" presStyleCnt="1">
        <dgm:presLayoutVars>
          <dgm:bulletEnabled val="1"/>
        </dgm:presLayoutVars>
      </dgm:prSet>
      <dgm:spPr/>
    </dgm:pt>
    <dgm:pt modelId="{CD8DA504-F521-47BF-921A-A1BFE0B691E9}" type="pres">
      <dgm:prSet presAssocID="{B0D51719-193C-4B63-87E9-A40AFC7FEC32}" presName="item1" presStyleLbl="node1" presStyleIdx="0" presStyleCnt="1" custLinFactNeighborX="13910" custLinFactNeighborY="-830">
        <dgm:presLayoutVars>
          <dgm:bulletEnabled val="1"/>
        </dgm:presLayoutVars>
      </dgm:prSet>
      <dgm:spPr/>
    </dgm:pt>
    <dgm:pt modelId="{A1B57F63-0459-451C-BAEA-51687A04A5F5}" type="pres">
      <dgm:prSet presAssocID="{7DC3C019-6512-4078-A0DF-A41E1FED968E}" presName="funnel" presStyleLbl="trAlignAcc1" presStyleIdx="0" presStyleCnt="1"/>
      <dgm:spPr/>
    </dgm:pt>
  </dgm:ptLst>
  <dgm:cxnLst>
    <dgm:cxn modelId="{191F400E-64EB-41FD-87C7-2862EF0A75F1}" srcId="{7DC3C019-6512-4078-A0DF-A41E1FED968E}" destId="{E68F166D-FA3D-4EEB-BC22-C56D1DAF8866}" srcOrd="0" destOrd="0" parTransId="{13D1DFA8-8BBF-4844-82DA-E6C05FAC35B1}" sibTransId="{6803606A-7361-4060-AB23-1E0C3FD970CD}"/>
    <dgm:cxn modelId="{D82CDE1C-C58E-4C67-B10E-B04814DDABA3}" srcId="{7DC3C019-6512-4078-A0DF-A41E1FED968E}" destId="{B0D51719-193C-4B63-87E9-A40AFC7FEC32}" srcOrd="1" destOrd="0" parTransId="{274936F2-310B-45DE-9521-9C809424A4A1}" sibTransId="{511675A4-1CE5-4375-8137-EA47A92D5094}"/>
    <dgm:cxn modelId="{BB527546-5387-4308-8136-B30C2D304797}" type="presOf" srcId="{B0D51719-193C-4B63-87E9-A40AFC7FEC32}" destId="{9BBE100A-EF12-4B20-8D9E-617BE70FCE8B}" srcOrd="0" destOrd="0" presId="urn:microsoft.com/office/officeart/2005/8/layout/funnel1"/>
    <dgm:cxn modelId="{BDF9E18C-B5A7-4E58-8852-65BF392B6124}" type="presOf" srcId="{E68F166D-FA3D-4EEB-BC22-C56D1DAF8866}" destId="{CD8DA504-F521-47BF-921A-A1BFE0B691E9}" srcOrd="0" destOrd="0" presId="urn:microsoft.com/office/officeart/2005/8/layout/funnel1"/>
    <dgm:cxn modelId="{954669C8-5CD6-48E5-8E7C-564E76E9F66F}" type="presOf" srcId="{7DC3C019-6512-4078-A0DF-A41E1FED968E}" destId="{AA49C5F4-EE69-4126-8170-7F1124F9267A}" srcOrd="0" destOrd="0" presId="urn:microsoft.com/office/officeart/2005/8/layout/funnel1"/>
    <dgm:cxn modelId="{30EC729A-E558-4038-A810-A6CA41A73F26}" type="presParOf" srcId="{AA49C5F4-EE69-4126-8170-7F1124F9267A}" destId="{FBCE5D7E-F536-404C-A292-91366F1DBF9D}" srcOrd="0" destOrd="0" presId="urn:microsoft.com/office/officeart/2005/8/layout/funnel1"/>
    <dgm:cxn modelId="{AA4DF121-3A92-46F6-95E3-22728FCE0BD7}" type="presParOf" srcId="{AA49C5F4-EE69-4126-8170-7F1124F9267A}" destId="{46E0F5D3-C848-4A84-8D4E-13747589BD0B}" srcOrd="1" destOrd="0" presId="urn:microsoft.com/office/officeart/2005/8/layout/funnel1"/>
    <dgm:cxn modelId="{0F602D0E-964F-4FD4-98DB-96DC04BC6AC6}" type="presParOf" srcId="{AA49C5F4-EE69-4126-8170-7F1124F9267A}" destId="{9BBE100A-EF12-4B20-8D9E-617BE70FCE8B}" srcOrd="2" destOrd="0" presId="urn:microsoft.com/office/officeart/2005/8/layout/funnel1"/>
    <dgm:cxn modelId="{12889873-44F5-4665-8F4A-C5BCA344767A}" type="presParOf" srcId="{AA49C5F4-EE69-4126-8170-7F1124F9267A}" destId="{CD8DA504-F521-47BF-921A-A1BFE0B691E9}" srcOrd="3" destOrd="0" presId="urn:microsoft.com/office/officeart/2005/8/layout/funnel1"/>
    <dgm:cxn modelId="{E27E196E-CF0D-453E-9E03-61B06EAD693E}" type="presParOf" srcId="{AA49C5F4-EE69-4126-8170-7F1124F9267A}" destId="{A1B57F63-0459-451C-BAEA-51687A04A5F5}" srcOrd="4"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E5D7E-F536-404C-A292-91366F1DBF9D}">
      <dsp:nvSpPr>
        <dsp:cNvPr id="0" name=""/>
        <dsp:cNvSpPr/>
      </dsp:nvSpPr>
      <dsp:spPr>
        <a:xfrm>
          <a:off x="2057246" y="166982"/>
          <a:ext cx="3313957" cy="1150893"/>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E0F5D3-C848-4A84-8D4E-13747589BD0B}">
      <dsp:nvSpPr>
        <dsp:cNvPr id="0" name=""/>
        <dsp:cNvSpPr/>
      </dsp:nvSpPr>
      <dsp:spPr>
        <a:xfrm>
          <a:off x="3398243" y="2985130"/>
          <a:ext cx="642239" cy="411033"/>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BE100A-EF12-4B20-8D9E-617BE70FCE8B}">
      <dsp:nvSpPr>
        <dsp:cNvPr id="0" name=""/>
        <dsp:cNvSpPr/>
      </dsp:nvSpPr>
      <dsp:spPr>
        <a:xfrm>
          <a:off x="2177987" y="3313957"/>
          <a:ext cx="3082751" cy="7706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2177987" y="3313957"/>
        <a:ext cx="3082751" cy="770687"/>
      </dsp:txXfrm>
    </dsp:sp>
    <dsp:sp modelId="{CD8DA504-F521-47BF-921A-A1BFE0B691E9}">
      <dsp:nvSpPr>
        <dsp:cNvPr id="0" name=""/>
        <dsp:cNvSpPr/>
      </dsp:nvSpPr>
      <dsp:spPr>
        <a:xfrm>
          <a:off x="2813471" y="216280"/>
          <a:ext cx="1798271" cy="179827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GB" sz="2100" kern="1200" dirty="0"/>
            <a:t>Knowledge</a:t>
          </a:r>
        </a:p>
      </dsp:txBody>
      <dsp:txXfrm>
        <a:off x="3076822" y="479631"/>
        <a:ext cx="1271569" cy="1271569"/>
      </dsp:txXfrm>
    </dsp:sp>
    <dsp:sp modelId="{A1B57F63-0459-451C-BAEA-51687A04A5F5}">
      <dsp:nvSpPr>
        <dsp:cNvPr id="0" name=""/>
        <dsp:cNvSpPr/>
      </dsp:nvSpPr>
      <dsp:spPr>
        <a:xfrm>
          <a:off x="1921091" y="25689"/>
          <a:ext cx="3596543" cy="2877234"/>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ID4096"/>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940668-50AF-478D-AEF4-C77ED233F5D7}" type="datetimeFigureOut">
              <a:rPr lang="LID4096" smtClean="0"/>
              <a:t>09/12/2019</a:t>
            </a:fld>
            <a:endParaRPr lang="LID4096"/>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ID4096"/>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ID4096"/>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D8D375-60E6-4133-AD90-A7C741172BB4}" type="slidenum">
              <a:rPr lang="LID4096" smtClean="0"/>
              <a:t>‹#›</a:t>
            </a:fld>
            <a:endParaRPr lang="LID4096"/>
          </a:p>
        </p:txBody>
      </p:sp>
    </p:spTree>
    <p:extLst>
      <p:ext uri="{BB962C8B-B14F-4D97-AF65-F5344CB8AC3E}">
        <p14:creationId xmlns:p14="http://schemas.microsoft.com/office/powerpoint/2010/main" val="845248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apps.who.int/iris/bitstream/10665/259533/1/WER9248.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B95E1F-0E16-9041-B7F2-F780B1DFEBE7}" type="slidenum">
              <a:rPr lang="en-US" smtClean="0"/>
              <a:t>1</a:t>
            </a:fld>
            <a:endParaRPr lang="en-US"/>
          </a:p>
        </p:txBody>
      </p:sp>
    </p:spTree>
    <p:extLst>
      <p:ext uri="{BB962C8B-B14F-4D97-AF65-F5344CB8AC3E}">
        <p14:creationId xmlns:p14="http://schemas.microsoft.com/office/powerpoint/2010/main" val="2332261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t>Meeting of SAGE, conclusions and recommendations, October 2017. Published in the World Epidemiological Report, 1 Dec 2017: </a:t>
            </a:r>
            <a:r>
              <a:rPr lang="en-GB" sz="1200" u="sng" dirty="0">
                <a:hlinkClick r:id="rId3"/>
              </a:rPr>
              <a:t>http://apps.who.int/iris/bitstream/10665/259533/1/WER9248.pdf</a:t>
            </a:r>
            <a:endParaRPr lang="en-US" sz="1200" dirty="0"/>
          </a:p>
          <a:p>
            <a:endParaRPr lang="en-GB" dirty="0"/>
          </a:p>
        </p:txBody>
      </p:sp>
      <p:sp>
        <p:nvSpPr>
          <p:cNvPr id="4" name="Slide Number Placeholder 3"/>
          <p:cNvSpPr>
            <a:spLocks noGrp="1"/>
          </p:cNvSpPr>
          <p:nvPr>
            <p:ph type="sldNum" sz="quarter" idx="10"/>
          </p:nvPr>
        </p:nvSpPr>
        <p:spPr/>
        <p:txBody>
          <a:bodyPr/>
          <a:lstStyle/>
          <a:p>
            <a:fld id="{907DFC79-30DA-484F-85C8-36E3971802A1}" type="slidenum">
              <a:rPr lang="en-US" smtClean="0"/>
              <a:t>13</a:t>
            </a:fld>
            <a:endParaRPr lang="en-US"/>
          </a:p>
        </p:txBody>
      </p:sp>
    </p:spTree>
    <p:extLst>
      <p:ext uri="{BB962C8B-B14F-4D97-AF65-F5344CB8AC3E}">
        <p14:creationId xmlns:p14="http://schemas.microsoft.com/office/powerpoint/2010/main" val="18881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One </a:t>
            </a:r>
            <a:r>
              <a:rPr lang="en-GB" b="1" dirty="0"/>
              <a:t>misconception</a:t>
            </a:r>
            <a:r>
              <a:rPr lang="en-GB" dirty="0"/>
              <a:t> in the</a:t>
            </a:r>
            <a:r>
              <a:rPr lang="en-GB" baseline="0" dirty="0"/>
              <a:t> process of maintaining and increasing vaccine acceptance is based on the idea that all we have to do is provide the facts and knowledge. This approach is called the information deficit model. But s</a:t>
            </a:r>
            <a:r>
              <a:rPr lang="en-GB" dirty="0"/>
              <a:t>imply presenting correct information and evidence in order to inform the public as described by the </a:t>
            </a:r>
            <a:r>
              <a:rPr lang="en-GB" b="1" i="1" dirty="0"/>
              <a:t>information deficit model</a:t>
            </a:r>
            <a:r>
              <a:rPr lang="en-GB" b="1" dirty="0"/>
              <a:t> </a:t>
            </a:r>
            <a:r>
              <a:rPr lang="en-GB" dirty="0"/>
              <a:t>is said to be hugely ineffective (CLICK) when it comes to correcting misconceptions and it ignores the importance of tailored messages and the corporation with all necessary parties (CLICK). </a:t>
            </a:r>
            <a:r>
              <a:rPr lang="en-GB" dirty="0" err="1"/>
              <a:t>Leask</a:t>
            </a:r>
            <a:r>
              <a:rPr lang="en-GB" dirty="0"/>
              <a:t> described the important factors in her Nature article about targeting the fence-sitters. This reveals that we can and have to do way more in order to maintain and increase vaccine acceptance. </a:t>
            </a:r>
          </a:p>
          <a:p>
            <a:endParaRPr lang="en-GB" dirty="0"/>
          </a:p>
          <a:p>
            <a:r>
              <a:rPr lang="en-GB" dirty="0"/>
              <a:t>One very important factor is the involvement of health professionals or health care workers. They themselves are a special group science has focused on … (NEXT SLIDE)</a:t>
            </a:r>
          </a:p>
        </p:txBody>
      </p:sp>
      <p:sp>
        <p:nvSpPr>
          <p:cNvPr id="4" name="Slide Number Placeholder 3"/>
          <p:cNvSpPr>
            <a:spLocks noGrp="1"/>
          </p:cNvSpPr>
          <p:nvPr>
            <p:ph type="sldNum" sz="quarter" idx="10"/>
          </p:nvPr>
        </p:nvSpPr>
        <p:spPr/>
        <p:txBody>
          <a:bodyPr/>
          <a:lstStyle/>
          <a:p>
            <a:fld id="{2AB54021-D84D-4D86-BD09-F96FE64937B6}" type="slidenum">
              <a:rPr lang="en-GB" smtClean="0"/>
              <a:pPr/>
              <a:t>14</a:t>
            </a:fld>
            <a:endParaRPr lang="en-GB"/>
          </a:p>
        </p:txBody>
      </p:sp>
    </p:spTree>
    <p:extLst>
      <p:ext uri="{BB962C8B-B14F-4D97-AF65-F5344CB8AC3E}">
        <p14:creationId xmlns:p14="http://schemas.microsoft.com/office/powerpoint/2010/main" val="32599304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before we look at vaccination demand and how we are best advised to promote it, let’s consider the whole continuum of vaccination </a:t>
            </a:r>
            <a:r>
              <a:rPr lang="en-US" dirty="0" err="1"/>
              <a:t>behaviour</a:t>
            </a:r>
            <a:r>
              <a:rPr lang="en-US" dirty="0"/>
              <a:t>, and unpack different standpoints, considering vaccination </a:t>
            </a:r>
            <a:r>
              <a:rPr lang="en-US" dirty="0" err="1"/>
              <a:t>behavioural</a:t>
            </a:r>
            <a:r>
              <a:rPr lang="en-US" dirty="0"/>
              <a:t> determinants, barriers and enablers in each case. </a:t>
            </a:r>
          </a:p>
        </p:txBody>
      </p:sp>
      <p:sp>
        <p:nvSpPr>
          <p:cNvPr id="4" name="Slide Number Placeholder 3"/>
          <p:cNvSpPr>
            <a:spLocks noGrp="1"/>
          </p:cNvSpPr>
          <p:nvPr>
            <p:ph type="sldNum" sz="quarter" idx="10"/>
          </p:nvPr>
        </p:nvSpPr>
        <p:spPr/>
        <p:txBody>
          <a:bodyPr/>
          <a:lstStyle/>
          <a:p>
            <a:fld id="{40DD33B6-F520-4043-A42B-0AE136F61F0C}" type="slidenum">
              <a:rPr lang="en-US" smtClean="0"/>
              <a:t>15</a:t>
            </a:fld>
            <a:endParaRPr lang="en-US"/>
          </a:p>
        </p:txBody>
      </p:sp>
    </p:spTree>
    <p:extLst>
      <p:ext uri="{BB962C8B-B14F-4D97-AF65-F5344CB8AC3E}">
        <p14:creationId xmlns:p14="http://schemas.microsoft.com/office/powerpoint/2010/main" val="1904154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2200" y="549275"/>
            <a:ext cx="4876800" cy="2743200"/>
          </a:xfrm>
        </p:spPr>
      </p:sp>
      <p:sp>
        <p:nvSpPr>
          <p:cNvPr id="3" name="Notes Placeholder 2"/>
          <p:cNvSpPr>
            <a:spLocks noGrp="1"/>
          </p:cNvSpPr>
          <p:nvPr>
            <p:ph type="body" idx="1"/>
          </p:nvPr>
        </p:nvSpPr>
        <p:spPr/>
        <p:txBody>
          <a:bodyPr/>
          <a:lstStyle/>
          <a:p>
            <a:r>
              <a:rPr lang="en-US" dirty="0"/>
              <a:t>Explain what you see on the slide.</a:t>
            </a:r>
          </a:p>
          <a:p>
            <a:r>
              <a:rPr lang="en-US" dirty="0"/>
              <a:t>In addition,</a:t>
            </a:r>
          </a:p>
          <a:p>
            <a:r>
              <a:rPr lang="en-US" dirty="0"/>
              <a:t>The continuum is not representative of the proportions of any population. That said, the majority of most countries’ population is on the greener shaded part of the continuum i.e. they demand or accept vaccination and vaccinate their children or themselves according to the national immunization schedule, at the correct time. </a:t>
            </a:r>
          </a:p>
        </p:txBody>
      </p:sp>
      <p:sp>
        <p:nvSpPr>
          <p:cNvPr id="4" name="Slide Number Placeholder 3"/>
          <p:cNvSpPr>
            <a:spLocks noGrp="1"/>
          </p:cNvSpPr>
          <p:nvPr>
            <p:ph type="sldNum" sz="quarter" idx="10"/>
          </p:nvPr>
        </p:nvSpPr>
        <p:spPr/>
        <p:txBody>
          <a:bodyPr/>
          <a:lstStyle/>
          <a:p>
            <a:fld id="{556C709F-9745-41E4-BE42-CDBF35B28695}" type="slidenum">
              <a:rPr lang="en-US" smtClean="0"/>
              <a:t>16</a:t>
            </a:fld>
            <a:endParaRPr lang="en-US"/>
          </a:p>
        </p:txBody>
      </p:sp>
    </p:spTree>
    <p:extLst>
      <p:ext uri="{BB962C8B-B14F-4D97-AF65-F5344CB8AC3E}">
        <p14:creationId xmlns:p14="http://schemas.microsoft.com/office/powerpoint/2010/main" val="2167329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4742BCD-442D-974F-8DEA-37197BEC98CB}" type="slidenum">
              <a:rPr lang="en-US" smtClean="0"/>
              <a:t>2</a:t>
            </a:fld>
            <a:endParaRPr lang="en-US"/>
          </a:p>
        </p:txBody>
      </p:sp>
    </p:spTree>
    <p:extLst>
      <p:ext uri="{BB962C8B-B14F-4D97-AF65-F5344CB8AC3E}">
        <p14:creationId xmlns:p14="http://schemas.microsoft.com/office/powerpoint/2010/main" val="653886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602137-CEB3-4B22-A248-0FD7388A543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436556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4742BCD-442D-974F-8DEA-37197BEC98CB}"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430680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4742BCD-442D-974F-8DEA-37197BEC98CB}" type="slidenum">
              <a:rPr lang="en-US" smtClean="0"/>
              <a:t>5</a:t>
            </a:fld>
            <a:endParaRPr lang="en-US"/>
          </a:p>
        </p:txBody>
      </p:sp>
    </p:spTree>
    <p:extLst>
      <p:ext uri="{BB962C8B-B14F-4D97-AF65-F5344CB8AC3E}">
        <p14:creationId xmlns:p14="http://schemas.microsoft.com/office/powerpoint/2010/main" val="868631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4742BCD-442D-974F-8DEA-37197BEC98CB}"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45076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if not all) of these factors are demand-related factors. </a:t>
            </a:r>
            <a:endParaRPr lang="LID4096" dirty="0"/>
          </a:p>
        </p:txBody>
      </p:sp>
      <p:sp>
        <p:nvSpPr>
          <p:cNvPr id="4" name="Slide Number Placeholder 3"/>
          <p:cNvSpPr>
            <a:spLocks noGrp="1"/>
          </p:cNvSpPr>
          <p:nvPr>
            <p:ph type="sldNum" sz="quarter" idx="5"/>
          </p:nvPr>
        </p:nvSpPr>
        <p:spPr/>
        <p:txBody>
          <a:bodyPr/>
          <a:lstStyle/>
          <a:p>
            <a:fld id="{D01C2321-F34D-4DAE-9A0F-7EAB0E7B8FA4}" type="slidenum">
              <a:rPr lang="en-US" smtClean="0"/>
              <a:t>8</a:t>
            </a:fld>
            <a:endParaRPr lang="en-US"/>
          </a:p>
        </p:txBody>
      </p:sp>
    </p:spTree>
    <p:extLst>
      <p:ext uri="{BB962C8B-B14F-4D97-AF65-F5344CB8AC3E}">
        <p14:creationId xmlns:p14="http://schemas.microsoft.com/office/powerpoint/2010/main" val="2514124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if not all) of these factors are demand-related factors. </a:t>
            </a:r>
            <a:endParaRPr lang="LID4096" dirty="0"/>
          </a:p>
        </p:txBody>
      </p:sp>
      <p:sp>
        <p:nvSpPr>
          <p:cNvPr id="4" name="Slide Number Placeholder 3"/>
          <p:cNvSpPr>
            <a:spLocks noGrp="1"/>
          </p:cNvSpPr>
          <p:nvPr>
            <p:ph type="sldNum" sz="quarter" idx="5"/>
          </p:nvPr>
        </p:nvSpPr>
        <p:spPr/>
        <p:txBody>
          <a:bodyPr/>
          <a:lstStyle/>
          <a:p>
            <a:fld id="{D01C2321-F34D-4DAE-9A0F-7EAB0E7B8FA4}" type="slidenum">
              <a:rPr lang="en-US" smtClean="0"/>
              <a:t>10</a:t>
            </a:fld>
            <a:endParaRPr lang="en-US"/>
          </a:p>
        </p:txBody>
      </p:sp>
    </p:spTree>
    <p:extLst>
      <p:ext uri="{BB962C8B-B14F-4D97-AF65-F5344CB8AC3E}">
        <p14:creationId xmlns:p14="http://schemas.microsoft.com/office/powerpoint/2010/main" val="315290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Highest recorded value was 41%, gradient has been scaled to maximise visibility within this range.</a:t>
            </a:r>
            <a:br>
              <a:rPr lang="en-GB" dirty="0"/>
            </a:br>
            <a:r>
              <a:rPr lang="en-GB" sz="1200" b="0" i="0" u="none" strike="noStrike" kern="1200" dirty="0">
                <a:solidFill>
                  <a:schemeClr val="tx1"/>
                </a:solidFill>
                <a:effectLst/>
                <a:latin typeface="+mn-lt"/>
                <a:ea typeface="+mn-ea"/>
                <a:cs typeface="+mn-cs"/>
              </a:rPr>
              <a:t>This map represents percentage disagreement with the statement, “Overall I think vaccines are safe,” by combining the two disagree responses (Tend to Disagree and Strongly Disagree) and dividing by the total number of responses, including Don’t Know/No Response as well as the two Agree options. Countries in grey were not included in this survey</a:t>
            </a:r>
            <a:endParaRPr lang="LID4096" dirty="0"/>
          </a:p>
        </p:txBody>
      </p:sp>
      <p:sp>
        <p:nvSpPr>
          <p:cNvPr id="4" name="Slide Number Placeholder 3"/>
          <p:cNvSpPr>
            <a:spLocks noGrp="1"/>
          </p:cNvSpPr>
          <p:nvPr>
            <p:ph type="sldNum" sz="quarter" idx="5"/>
          </p:nvPr>
        </p:nvSpPr>
        <p:spPr/>
        <p:txBody>
          <a:bodyPr/>
          <a:lstStyle/>
          <a:p>
            <a:fld id="{D01C2321-F34D-4DAE-9A0F-7EAB0E7B8FA4}" type="slidenum">
              <a:rPr lang="en-US" smtClean="0"/>
              <a:t>11</a:t>
            </a:fld>
            <a:endParaRPr lang="en-US"/>
          </a:p>
        </p:txBody>
      </p:sp>
    </p:spTree>
    <p:extLst>
      <p:ext uri="{BB962C8B-B14F-4D97-AF65-F5344CB8AC3E}">
        <p14:creationId xmlns:p14="http://schemas.microsoft.com/office/powerpoint/2010/main" val="25199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7FB55-2D7F-45F1-ADBF-225FBAC30C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LID4096"/>
          </a:p>
        </p:txBody>
      </p:sp>
      <p:sp>
        <p:nvSpPr>
          <p:cNvPr id="3" name="Subtitle 2">
            <a:extLst>
              <a:ext uri="{FF2B5EF4-FFF2-40B4-BE49-F238E27FC236}">
                <a16:creationId xmlns:a16="http://schemas.microsoft.com/office/drawing/2014/main" id="{D77206D2-AFFF-4299-A652-143D99105D8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B5B3B220-F39A-4ABA-94AD-D364C169F94D}"/>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C41E33B0-3992-4F02-8B49-B69B6B7855BD}"/>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9BC87E57-1F7B-4407-B257-1100ACC51CD5}"/>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570799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68517-D9C9-4A35-B107-ED96ED20D06E}"/>
              </a:ext>
            </a:extLst>
          </p:cNvPr>
          <p:cNvSpPr>
            <a:spLocks noGrp="1"/>
          </p:cNvSpPr>
          <p:nvPr>
            <p:ph type="title"/>
          </p:nvPr>
        </p:nvSpPr>
        <p:spPr/>
        <p:txBody>
          <a:bodyPr/>
          <a:lstStyle/>
          <a:p>
            <a:r>
              <a:rPr lang="en-US"/>
              <a:t>Click to edit Master title style</a:t>
            </a:r>
            <a:endParaRPr lang="LID4096"/>
          </a:p>
        </p:txBody>
      </p:sp>
      <p:sp>
        <p:nvSpPr>
          <p:cNvPr id="3" name="Vertical Text Placeholder 2">
            <a:extLst>
              <a:ext uri="{FF2B5EF4-FFF2-40B4-BE49-F238E27FC236}">
                <a16:creationId xmlns:a16="http://schemas.microsoft.com/office/drawing/2014/main" id="{C137247D-5D61-4222-9DB2-626DF102502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Date Placeholder 3">
            <a:extLst>
              <a:ext uri="{FF2B5EF4-FFF2-40B4-BE49-F238E27FC236}">
                <a16:creationId xmlns:a16="http://schemas.microsoft.com/office/drawing/2014/main" id="{CC49CB9E-724C-46B9-A72C-81BA49FB21C4}"/>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DEBFB669-0D53-450A-9968-6D03CE0C60BB}"/>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F73B967A-5D81-47D4-8439-94129ED9A2EB}"/>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4123123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C23D62-A4DA-43F2-939E-F700518F1B4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LID4096"/>
          </a:p>
        </p:txBody>
      </p:sp>
      <p:sp>
        <p:nvSpPr>
          <p:cNvPr id="3" name="Vertical Text Placeholder 2">
            <a:extLst>
              <a:ext uri="{FF2B5EF4-FFF2-40B4-BE49-F238E27FC236}">
                <a16:creationId xmlns:a16="http://schemas.microsoft.com/office/drawing/2014/main" id="{44CF368D-239D-4619-8610-39F7819FCA9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Date Placeholder 3">
            <a:extLst>
              <a:ext uri="{FF2B5EF4-FFF2-40B4-BE49-F238E27FC236}">
                <a16:creationId xmlns:a16="http://schemas.microsoft.com/office/drawing/2014/main" id="{DE1E4B75-7E1F-49E1-8C3F-5D5B49077B71}"/>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2E8F639E-C0BE-43C1-AB8C-2929126AD2CF}"/>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BF7F22DA-102C-4A80-9BA7-7361F14F4D6D}"/>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1687645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8723"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1"/>
            <p:custDataLst>
              <p:tags r:id="rId4"/>
            </p:custDataLst>
          </p:nvPr>
        </p:nvSpPr>
        <p:spPr>
          <a:xfrm>
            <a:off x="935565" y="1509717"/>
            <a:ext cx="10676469" cy="4624387"/>
          </a:xfrm>
        </p:spPr>
        <p:txBody>
          <a:bodyPr/>
          <a:lstStyle>
            <a:lvl1pPr>
              <a:defRPr/>
            </a:lvl1pPr>
            <a:lvl2pPr>
              <a:defRPr/>
            </a:lvl2pPr>
            <a:lvl3pPr>
              <a:defRPr/>
            </a:lvl3pPr>
            <a:lvl4pPr>
              <a:defRPr/>
            </a:lvl4pPr>
            <a:lvl5pPr>
              <a:defRPr>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891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2FCE8-5969-4D94-9345-FD631F8DC0AB}"/>
              </a:ext>
            </a:extLst>
          </p:cNvPr>
          <p:cNvSpPr>
            <a:spLocks noGrp="1"/>
          </p:cNvSpPr>
          <p:nvPr>
            <p:ph type="title"/>
          </p:nvPr>
        </p:nvSpPr>
        <p:spPr/>
        <p:txBody>
          <a:bodyPr/>
          <a:lstStyle/>
          <a:p>
            <a:r>
              <a:rPr lang="en-US"/>
              <a:t>Click to edit Master title style</a:t>
            </a:r>
            <a:endParaRPr lang="LID4096"/>
          </a:p>
        </p:txBody>
      </p:sp>
      <p:sp>
        <p:nvSpPr>
          <p:cNvPr id="3" name="Content Placeholder 2">
            <a:extLst>
              <a:ext uri="{FF2B5EF4-FFF2-40B4-BE49-F238E27FC236}">
                <a16:creationId xmlns:a16="http://schemas.microsoft.com/office/drawing/2014/main" id="{0D0E9B8F-8874-4452-A36B-0C1A1C4ADE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Date Placeholder 3">
            <a:extLst>
              <a:ext uri="{FF2B5EF4-FFF2-40B4-BE49-F238E27FC236}">
                <a16:creationId xmlns:a16="http://schemas.microsoft.com/office/drawing/2014/main" id="{A773EBBE-9F5E-4E28-8001-159D9EC194F9}"/>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2DE52956-72CA-4586-9EC1-1D90DBE9836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D67A34DB-141B-4D31-92A8-1B6C938ABEF8}"/>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414115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1599F-5B2D-422E-889E-6B1E15F3B4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LID4096"/>
          </a:p>
        </p:txBody>
      </p:sp>
      <p:sp>
        <p:nvSpPr>
          <p:cNvPr id="3" name="Text Placeholder 2">
            <a:extLst>
              <a:ext uri="{FF2B5EF4-FFF2-40B4-BE49-F238E27FC236}">
                <a16:creationId xmlns:a16="http://schemas.microsoft.com/office/drawing/2014/main" id="{8462AF05-9A2A-4E5B-B6AC-AAC1DE3B5B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876B325-1FC9-4DE1-8E1F-229E5BD98317}"/>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42A635C6-246D-4C47-9102-BF3B2AFB58C2}"/>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ED11F9E-663F-4879-A451-A519CF9BE613}"/>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2311388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2C1E8-1ED1-43F7-BC69-B69CC39DC64C}"/>
              </a:ext>
            </a:extLst>
          </p:cNvPr>
          <p:cNvSpPr>
            <a:spLocks noGrp="1"/>
          </p:cNvSpPr>
          <p:nvPr>
            <p:ph type="title"/>
          </p:nvPr>
        </p:nvSpPr>
        <p:spPr/>
        <p:txBody>
          <a:bodyPr/>
          <a:lstStyle/>
          <a:p>
            <a:r>
              <a:rPr lang="en-US"/>
              <a:t>Click to edit Master title style</a:t>
            </a:r>
            <a:endParaRPr lang="LID4096"/>
          </a:p>
        </p:txBody>
      </p:sp>
      <p:sp>
        <p:nvSpPr>
          <p:cNvPr id="3" name="Content Placeholder 2">
            <a:extLst>
              <a:ext uri="{FF2B5EF4-FFF2-40B4-BE49-F238E27FC236}">
                <a16:creationId xmlns:a16="http://schemas.microsoft.com/office/drawing/2014/main" id="{D5A6117B-9DD7-481E-9C56-D90CC997A12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Content Placeholder 3">
            <a:extLst>
              <a:ext uri="{FF2B5EF4-FFF2-40B4-BE49-F238E27FC236}">
                <a16:creationId xmlns:a16="http://schemas.microsoft.com/office/drawing/2014/main" id="{D4827961-474B-46A5-83FF-9955928333C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5" name="Date Placeholder 4">
            <a:extLst>
              <a:ext uri="{FF2B5EF4-FFF2-40B4-BE49-F238E27FC236}">
                <a16:creationId xmlns:a16="http://schemas.microsoft.com/office/drawing/2014/main" id="{882C1F37-C3AF-48B5-8464-4B54E040832D}"/>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6" name="Footer Placeholder 5">
            <a:extLst>
              <a:ext uri="{FF2B5EF4-FFF2-40B4-BE49-F238E27FC236}">
                <a16:creationId xmlns:a16="http://schemas.microsoft.com/office/drawing/2014/main" id="{E1CC4C18-8234-408D-8BC9-EF97BAD967E1}"/>
              </a:ext>
            </a:extLst>
          </p:cNvPr>
          <p:cNvSpPr>
            <a:spLocks noGrp="1"/>
          </p:cNvSpPr>
          <p:nvPr>
            <p:ph type="ftr" sz="quarter" idx="11"/>
          </p:nvPr>
        </p:nvSpPr>
        <p:spPr/>
        <p:txBody>
          <a:bodyPr/>
          <a:lstStyle/>
          <a:p>
            <a:endParaRPr lang="LID4096"/>
          </a:p>
        </p:txBody>
      </p:sp>
      <p:sp>
        <p:nvSpPr>
          <p:cNvPr id="7" name="Slide Number Placeholder 6">
            <a:extLst>
              <a:ext uri="{FF2B5EF4-FFF2-40B4-BE49-F238E27FC236}">
                <a16:creationId xmlns:a16="http://schemas.microsoft.com/office/drawing/2014/main" id="{E3CD2DC0-433D-4E9D-A091-6694D0709ACB}"/>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1506328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EE8D3-9771-4E4C-983E-0556D97D58A1}"/>
              </a:ext>
            </a:extLst>
          </p:cNvPr>
          <p:cNvSpPr>
            <a:spLocks noGrp="1"/>
          </p:cNvSpPr>
          <p:nvPr>
            <p:ph type="title"/>
          </p:nvPr>
        </p:nvSpPr>
        <p:spPr>
          <a:xfrm>
            <a:off x="839788" y="365125"/>
            <a:ext cx="10515600" cy="1325563"/>
          </a:xfrm>
        </p:spPr>
        <p:txBody>
          <a:bodyPr/>
          <a:lstStyle/>
          <a:p>
            <a:r>
              <a:rPr lang="en-US"/>
              <a:t>Click to edit Master title style</a:t>
            </a:r>
            <a:endParaRPr lang="LID4096"/>
          </a:p>
        </p:txBody>
      </p:sp>
      <p:sp>
        <p:nvSpPr>
          <p:cNvPr id="3" name="Text Placeholder 2">
            <a:extLst>
              <a:ext uri="{FF2B5EF4-FFF2-40B4-BE49-F238E27FC236}">
                <a16:creationId xmlns:a16="http://schemas.microsoft.com/office/drawing/2014/main" id="{4D067782-2993-46F0-AEE7-B3D9490794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BB26BB7-E811-4DFC-8BAB-6CDA19D3203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5" name="Text Placeholder 4">
            <a:extLst>
              <a:ext uri="{FF2B5EF4-FFF2-40B4-BE49-F238E27FC236}">
                <a16:creationId xmlns:a16="http://schemas.microsoft.com/office/drawing/2014/main" id="{06AB9D28-5BA3-4158-A2F6-C3BDB55C36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291F8F5-03F7-46BA-A791-36D27BA6D18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7" name="Date Placeholder 6">
            <a:extLst>
              <a:ext uri="{FF2B5EF4-FFF2-40B4-BE49-F238E27FC236}">
                <a16:creationId xmlns:a16="http://schemas.microsoft.com/office/drawing/2014/main" id="{A5244D7D-41EB-4127-898A-B5DD62A395C9}"/>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8" name="Footer Placeholder 7">
            <a:extLst>
              <a:ext uri="{FF2B5EF4-FFF2-40B4-BE49-F238E27FC236}">
                <a16:creationId xmlns:a16="http://schemas.microsoft.com/office/drawing/2014/main" id="{636515C1-AD2E-435B-9715-6AEAD163158E}"/>
              </a:ext>
            </a:extLst>
          </p:cNvPr>
          <p:cNvSpPr>
            <a:spLocks noGrp="1"/>
          </p:cNvSpPr>
          <p:nvPr>
            <p:ph type="ftr" sz="quarter" idx="11"/>
          </p:nvPr>
        </p:nvSpPr>
        <p:spPr/>
        <p:txBody>
          <a:bodyPr/>
          <a:lstStyle/>
          <a:p>
            <a:endParaRPr lang="LID4096"/>
          </a:p>
        </p:txBody>
      </p:sp>
      <p:sp>
        <p:nvSpPr>
          <p:cNvPr id="9" name="Slide Number Placeholder 8">
            <a:extLst>
              <a:ext uri="{FF2B5EF4-FFF2-40B4-BE49-F238E27FC236}">
                <a16:creationId xmlns:a16="http://schemas.microsoft.com/office/drawing/2014/main" id="{396757F1-A463-4D6C-87A6-544CA12D0F48}"/>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2852676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E64D9-1BDD-4CD9-99E9-73907B6A7A00}"/>
              </a:ext>
            </a:extLst>
          </p:cNvPr>
          <p:cNvSpPr>
            <a:spLocks noGrp="1"/>
          </p:cNvSpPr>
          <p:nvPr>
            <p:ph type="title"/>
          </p:nvPr>
        </p:nvSpPr>
        <p:spPr/>
        <p:txBody>
          <a:bodyPr/>
          <a:lstStyle/>
          <a:p>
            <a:r>
              <a:rPr lang="en-US"/>
              <a:t>Click to edit Master title style</a:t>
            </a:r>
            <a:endParaRPr lang="LID4096"/>
          </a:p>
        </p:txBody>
      </p:sp>
      <p:sp>
        <p:nvSpPr>
          <p:cNvPr id="3" name="Date Placeholder 2">
            <a:extLst>
              <a:ext uri="{FF2B5EF4-FFF2-40B4-BE49-F238E27FC236}">
                <a16:creationId xmlns:a16="http://schemas.microsoft.com/office/drawing/2014/main" id="{4E337F90-253A-461F-B199-7A858CD5E14A}"/>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4" name="Footer Placeholder 3">
            <a:extLst>
              <a:ext uri="{FF2B5EF4-FFF2-40B4-BE49-F238E27FC236}">
                <a16:creationId xmlns:a16="http://schemas.microsoft.com/office/drawing/2014/main" id="{815A5526-BB94-4ABF-8439-634ADCCAE56F}"/>
              </a:ext>
            </a:extLst>
          </p:cNvPr>
          <p:cNvSpPr>
            <a:spLocks noGrp="1"/>
          </p:cNvSpPr>
          <p:nvPr>
            <p:ph type="ftr" sz="quarter" idx="11"/>
          </p:nvPr>
        </p:nvSpPr>
        <p:spPr/>
        <p:txBody>
          <a:bodyPr/>
          <a:lstStyle/>
          <a:p>
            <a:endParaRPr lang="LID4096"/>
          </a:p>
        </p:txBody>
      </p:sp>
      <p:sp>
        <p:nvSpPr>
          <p:cNvPr id="5" name="Slide Number Placeholder 4">
            <a:extLst>
              <a:ext uri="{FF2B5EF4-FFF2-40B4-BE49-F238E27FC236}">
                <a16:creationId xmlns:a16="http://schemas.microsoft.com/office/drawing/2014/main" id="{B579F52F-BB61-49AF-AF79-52918CEF9474}"/>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30230119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42FB45-DAF7-415E-BB55-060C67FA4C7A}"/>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3" name="Footer Placeholder 2">
            <a:extLst>
              <a:ext uri="{FF2B5EF4-FFF2-40B4-BE49-F238E27FC236}">
                <a16:creationId xmlns:a16="http://schemas.microsoft.com/office/drawing/2014/main" id="{34AD2E64-C338-447B-ACA9-1BF4490C931B}"/>
              </a:ext>
            </a:extLst>
          </p:cNvPr>
          <p:cNvSpPr>
            <a:spLocks noGrp="1"/>
          </p:cNvSpPr>
          <p:nvPr>
            <p:ph type="ftr" sz="quarter" idx="11"/>
          </p:nvPr>
        </p:nvSpPr>
        <p:spPr/>
        <p:txBody>
          <a:bodyPr/>
          <a:lstStyle/>
          <a:p>
            <a:endParaRPr lang="LID4096"/>
          </a:p>
        </p:txBody>
      </p:sp>
      <p:sp>
        <p:nvSpPr>
          <p:cNvPr id="4" name="Slide Number Placeholder 3">
            <a:extLst>
              <a:ext uri="{FF2B5EF4-FFF2-40B4-BE49-F238E27FC236}">
                <a16:creationId xmlns:a16="http://schemas.microsoft.com/office/drawing/2014/main" id="{4403F67D-89FC-4BAC-9191-E10AEDF3B18E}"/>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143226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C1A23-F48E-4981-999C-D21BA74AB9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LID4096"/>
          </a:p>
        </p:txBody>
      </p:sp>
      <p:sp>
        <p:nvSpPr>
          <p:cNvPr id="3" name="Content Placeholder 2">
            <a:extLst>
              <a:ext uri="{FF2B5EF4-FFF2-40B4-BE49-F238E27FC236}">
                <a16:creationId xmlns:a16="http://schemas.microsoft.com/office/drawing/2014/main" id="{B708D6E8-D575-4F56-B18D-E1775FF341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Text Placeholder 3">
            <a:extLst>
              <a:ext uri="{FF2B5EF4-FFF2-40B4-BE49-F238E27FC236}">
                <a16:creationId xmlns:a16="http://schemas.microsoft.com/office/drawing/2014/main" id="{388FF9CA-3C83-4397-A0CF-B2ADBC69FC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ACF71BF-2CF0-45B1-B949-A7758CA7A83F}"/>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6" name="Footer Placeholder 5">
            <a:extLst>
              <a:ext uri="{FF2B5EF4-FFF2-40B4-BE49-F238E27FC236}">
                <a16:creationId xmlns:a16="http://schemas.microsoft.com/office/drawing/2014/main" id="{40EB7BBB-94C0-4D34-81A8-D00A508BE5CA}"/>
              </a:ext>
            </a:extLst>
          </p:cNvPr>
          <p:cNvSpPr>
            <a:spLocks noGrp="1"/>
          </p:cNvSpPr>
          <p:nvPr>
            <p:ph type="ftr" sz="quarter" idx="11"/>
          </p:nvPr>
        </p:nvSpPr>
        <p:spPr/>
        <p:txBody>
          <a:bodyPr/>
          <a:lstStyle/>
          <a:p>
            <a:endParaRPr lang="LID4096"/>
          </a:p>
        </p:txBody>
      </p:sp>
      <p:sp>
        <p:nvSpPr>
          <p:cNvPr id="7" name="Slide Number Placeholder 6">
            <a:extLst>
              <a:ext uri="{FF2B5EF4-FFF2-40B4-BE49-F238E27FC236}">
                <a16:creationId xmlns:a16="http://schemas.microsoft.com/office/drawing/2014/main" id="{71088C14-365E-4676-8F92-1D2B2C218E56}"/>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1809186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AE03B-1C81-4AEC-BB31-59063C00B4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LID4096"/>
          </a:p>
        </p:txBody>
      </p:sp>
      <p:sp>
        <p:nvSpPr>
          <p:cNvPr id="3" name="Picture Placeholder 2">
            <a:extLst>
              <a:ext uri="{FF2B5EF4-FFF2-40B4-BE49-F238E27FC236}">
                <a16:creationId xmlns:a16="http://schemas.microsoft.com/office/drawing/2014/main" id="{7294CB72-1BB9-4917-AF31-CE33006D0F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LID4096"/>
          </a:p>
        </p:txBody>
      </p:sp>
      <p:sp>
        <p:nvSpPr>
          <p:cNvPr id="4" name="Text Placeholder 3">
            <a:extLst>
              <a:ext uri="{FF2B5EF4-FFF2-40B4-BE49-F238E27FC236}">
                <a16:creationId xmlns:a16="http://schemas.microsoft.com/office/drawing/2014/main" id="{65999364-9BE3-4D0C-BD2C-F79C0024E6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AEAED4-4C5E-4BD5-AF5C-1FCF42E7432D}"/>
              </a:ext>
            </a:extLst>
          </p:cNvPr>
          <p:cNvSpPr>
            <a:spLocks noGrp="1"/>
          </p:cNvSpPr>
          <p:nvPr>
            <p:ph type="dt" sz="half" idx="10"/>
          </p:nvPr>
        </p:nvSpPr>
        <p:spPr/>
        <p:txBody>
          <a:bodyPr/>
          <a:lstStyle/>
          <a:p>
            <a:fld id="{4C515426-383C-4035-B855-09F2488872C3}" type="datetimeFigureOut">
              <a:rPr lang="LID4096" smtClean="0"/>
              <a:t>09/12/2019</a:t>
            </a:fld>
            <a:endParaRPr lang="LID4096"/>
          </a:p>
        </p:txBody>
      </p:sp>
      <p:sp>
        <p:nvSpPr>
          <p:cNvPr id="6" name="Footer Placeholder 5">
            <a:extLst>
              <a:ext uri="{FF2B5EF4-FFF2-40B4-BE49-F238E27FC236}">
                <a16:creationId xmlns:a16="http://schemas.microsoft.com/office/drawing/2014/main" id="{A8E5B2E3-F5CB-489A-9357-19D328DB6DEE}"/>
              </a:ext>
            </a:extLst>
          </p:cNvPr>
          <p:cNvSpPr>
            <a:spLocks noGrp="1"/>
          </p:cNvSpPr>
          <p:nvPr>
            <p:ph type="ftr" sz="quarter" idx="11"/>
          </p:nvPr>
        </p:nvSpPr>
        <p:spPr/>
        <p:txBody>
          <a:bodyPr/>
          <a:lstStyle/>
          <a:p>
            <a:endParaRPr lang="LID4096"/>
          </a:p>
        </p:txBody>
      </p:sp>
      <p:sp>
        <p:nvSpPr>
          <p:cNvPr id="7" name="Slide Number Placeholder 6">
            <a:extLst>
              <a:ext uri="{FF2B5EF4-FFF2-40B4-BE49-F238E27FC236}">
                <a16:creationId xmlns:a16="http://schemas.microsoft.com/office/drawing/2014/main" id="{8CAA1FF4-999B-4F70-A49B-4F535207BD7D}"/>
              </a:ext>
            </a:extLst>
          </p:cNvPr>
          <p:cNvSpPr>
            <a:spLocks noGrp="1"/>
          </p:cNvSpPr>
          <p:nvPr>
            <p:ph type="sldNum" sz="quarter" idx="12"/>
          </p:nvPr>
        </p:nvSpPr>
        <p:spPr/>
        <p:txBody>
          <a:bodyPr/>
          <a:lstStyle/>
          <a:p>
            <a:fld id="{D419CD0A-F08E-470B-997A-B84E417682A7}" type="slidenum">
              <a:rPr lang="LID4096" smtClean="0"/>
              <a:t>‹#›</a:t>
            </a:fld>
            <a:endParaRPr lang="LID4096"/>
          </a:p>
        </p:txBody>
      </p:sp>
    </p:spTree>
    <p:extLst>
      <p:ext uri="{BB962C8B-B14F-4D97-AF65-F5344CB8AC3E}">
        <p14:creationId xmlns:p14="http://schemas.microsoft.com/office/powerpoint/2010/main" val="19328730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3DC04D-B421-42AD-90BA-5241B61757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LID4096"/>
          </a:p>
        </p:txBody>
      </p:sp>
      <p:sp>
        <p:nvSpPr>
          <p:cNvPr id="3" name="Text Placeholder 2">
            <a:extLst>
              <a:ext uri="{FF2B5EF4-FFF2-40B4-BE49-F238E27FC236}">
                <a16:creationId xmlns:a16="http://schemas.microsoft.com/office/drawing/2014/main" id="{B9F0E886-A135-4AEA-8DC2-330CA965B1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4" name="Date Placeholder 3">
            <a:extLst>
              <a:ext uri="{FF2B5EF4-FFF2-40B4-BE49-F238E27FC236}">
                <a16:creationId xmlns:a16="http://schemas.microsoft.com/office/drawing/2014/main" id="{0B210655-EEDA-487C-9861-4A49B6CE8C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515426-383C-4035-B855-09F2488872C3}" type="datetimeFigureOut">
              <a:rPr lang="LID4096" smtClean="0"/>
              <a:t>09/12/2019</a:t>
            </a:fld>
            <a:endParaRPr lang="LID4096"/>
          </a:p>
        </p:txBody>
      </p:sp>
      <p:sp>
        <p:nvSpPr>
          <p:cNvPr id="5" name="Footer Placeholder 4">
            <a:extLst>
              <a:ext uri="{FF2B5EF4-FFF2-40B4-BE49-F238E27FC236}">
                <a16:creationId xmlns:a16="http://schemas.microsoft.com/office/drawing/2014/main" id="{BE7D8C3D-D833-4708-BDF6-B57F41BDB1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LID4096"/>
          </a:p>
        </p:txBody>
      </p:sp>
      <p:sp>
        <p:nvSpPr>
          <p:cNvPr id="6" name="Slide Number Placeholder 5">
            <a:extLst>
              <a:ext uri="{FF2B5EF4-FFF2-40B4-BE49-F238E27FC236}">
                <a16:creationId xmlns:a16="http://schemas.microsoft.com/office/drawing/2014/main" id="{4CD9C5B0-62A4-4D2F-8E79-CAA16695918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19CD0A-F08E-470B-997A-B84E417682A7}" type="slidenum">
              <a:rPr lang="LID4096" smtClean="0"/>
              <a:t>‹#›</a:t>
            </a:fld>
            <a:endParaRPr lang="LID4096"/>
          </a:p>
        </p:txBody>
      </p:sp>
    </p:spTree>
    <p:extLst>
      <p:ext uri="{BB962C8B-B14F-4D97-AF65-F5344CB8AC3E}">
        <p14:creationId xmlns:p14="http://schemas.microsoft.com/office/powerpoint/2010/main" val="41697647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1.xml"/><Relationship Id="rId4" Type="http://schemas.openxmlformats.org/officeDocument/2006/relationships/image" Target="../media/image4.svg"/></Relationships>
</file>

<file path=ppt/slides/_rels/slide3.xml.rels><?xml version="1.0" encoding="UTF-8" standalone="yes"?>
<Relationships xmlns="http://schemas.openxmlformats.org/package/2006/relationships"><Relationship Id="rId117" Type="http://schemas.openxmlformats.org/officeDocument/2006/relationships/tags" Target="../tags/tag119.xml"/><Relationship Id="rId21" Type="http://schemas.openxmlformats.org/officeDocument/2006/relationships/tags" Target="../tags/tag23.xml"/><Relationship Id="rId324" Type="http://schemas.openxmlformats.org/officeDocument/2006/relationships/tags" Target="../tags/tag326.xml"/><Relationship Id="rId531" Type="http://schemas.openxmlformats.org/officeDocument/2006/relationships/tags" Target="../tags/tag533.xml"/><Relationship Id="rId170" Type="http://schemas.openxmlformats.org/officeDocument/2006/relationships/tags" Target="../tags/tag172.xml"/><Relationship Id="rId268" Type="http://schemas.openxmlformats.org/officeDocument/2006/relationships/tags" Target="../tags/tag270.xml"/><Relationship Id="rId475" Type="http://schemas.openxmlformats.org/officeDocument/2006/relationships/tags" Target="../tags/tag477.xml"/><Relationship Id="rId32" Type="http://schemas.openxmlformats.org/officeDocument/2006/relationships/tags" Target="../tags/tag34.xml"/><Relationship Id="rId128" Type="http://schemas.openxmlformats.org/officeDocument/2006/relationships/tags" Target="../tags/tag130.xml"/><Relationship Id="rId335" Type="http://schemas.openxmlformats.org/officeDocument/2006/relationships/tags" Target="../tags/tag337.xml"/><Relationship Id="rId542" Type="http://schemas.openxmlformats.org/officeDocument/2006/relationships/tags" Target="../tags/tag544.xml"/><Relationship Id="rId181" Type="http://schemas.openxmlformats.org/officeDocument/2006/relationships/tags" Target="../tags/tag183.xml"/><Relationship Id="rId402" Type="http://schemas.openxmlformats.org/officeDocument/2006/relationships/tags" Target="../tags/tag404.xml"/><Relationship Id="rId279" Type="http://schemas.openxmlformats.org/officeDocument/2006/relationships/tags" Target="../tags/tag281.xml"/><Relationship Id="rId486" Type="http://schemas.openxmlformats.org/officeDocument/2006/relationships/tags" Target="../tags/tag488.xml"/><Relationship Id="rId43" Type="http://schemas.openxmlformats.org/officeDocument/2006/relationships/tags" Target="../tags/tag45.xml"/><Relationship Id="rId139" Type="http://schemas.openxmlformats.org/officeDocument/2006/relationships/tags" Target="../tags/tag141.xml"/><Relationship Id="rId346" Type="http://schemas.openxmlformats.org/officeDocument/2006/relationships/tags" Target="../tags/tag348.xml"/><Relationship Id="rId553" Type="http://schemas.openxmlformats.org/officeDocument/2006/relationships/tags" Target="../tags/tag555.xml"/><Relationship Id="rId192" Type="http://schemas.openxmlformats.org/officeDocument/2006/relationships/tags" Target="../tags/tag194.xml"/><Relationship Id="rId206" Type="http://schemas.openxmlformats.org/officeDocument/2006/relationships/tags" Target="../tags/tag208.xml"/><Relationship Id="rId413" Type="http://schemas.openxmlformats.org/officeDocument/2006/relationships/tags" Target="../tags/tag415.xml"/><Relationship Id="rId497" Type="http://schemas.openxmlformats.org/officeDocument/2006/relationships/tags" Target="../tags/tag499.xml"/><Relationship Id="rId357" Type="http://schemas.openxmlformats.org/officeDocument/2006/relationships/tags" Target="../tags/tag359.xml"/><Relationship Id="rId54" Type="http://schemas.openxmlformats.org/officeDocument/2006/relationships/tags" Target="../tags/tag56.xml"/><Relationship Id="rId217" Type="http://schemas.openxmlformats.org/officeDocument/2006/relationships/tags" Target="../tags/tag219.xml"/><Relationship Id="rId564" Type="http://schemas.openxmlformats.org/officeDocument/2006/relationships/tags" Target="../tags/tag566.xml"/><Relationship Id="rId424" Type="http://schemas.openxmlformats.org/officeDocument/2006/relationships/tags" Target="../tags/tag426.xml"/><Relationship Id="rId270" Type="http://schemas.openxmlformats.org/officeDocument/2006/relationships/tags" Target="../tags/tag272.xml"/><Relationship Id="rId65" Type="http://schemas.openxmlformats.org/officeDocument/2006/relationships/tags" Target="../tags/tag67.xml"/><Relationship Id="rId130" Type="http://schemas.openxmlformats.org/officeDocument/2006/relationships/tags" Target="../tags/tag132.xml"/><Relationship Id="rId368" Type="http://schemas.openxmlformats.org/officeDocument/2006/relationships/tags" Target="../tags/tag370.xml"/><Relationship Id="rId575" Type="http://schemas.openxmlformats.org/officeDocument/2006/relationships/image" Target="../media/image7.emf"/><Relationship Id="rId228" Type="http://schemas.openxmlformats.org/officeDocument/2006/relationships/tags" Target="../tags/tag230.xml"/><Relationship Id="rId435" Type="http://schemas.openxmlformats.org/officeDocument/2006/relationships/tags" Target="../tags/tag437.xml"/><Relationship Id="rId281" Type="http://schemas.openxmlformats.org/officeDocument/2006/relationships/tags" Target="../tags/tag283.xml"/><Relationship Id="rId502" Type="http://schemas.openxmlformats.org/officeDocument/2006/relationships/tags" Target="../tags/tag504.xml"/><Relationship Id="rId76" Type="http://schemas.openxmlformats.org/officeDocument/2006/relationships/tags" Target="../tags/tag78.xml"/><Relationship Id="rId141" Type="http://schemas.openxmlformats.org/officeDocument/2006/relationships/tags" Target="../tags/tag143.xml"/><Relationship Id="rId379" Type="http://schemas.openxmlformats.org/officeDocument/2006/relationships/tags" Target="../tags/tag381.xml"/><Relationship Id="rId586" Type="http://schemas.openxmlformats.org/officeDocument/2006/relationships/image" Target="../media/image16.png"/><Relationship Id="rId7" Type="http://schemas.openxmlformats.org/officeDocument/2006/relationships/tags" Target="../tags/tag9.xml"/><Relationship Id="rId239" Type="http://schemas.openxmlformats.org/officeDocument/2006/relationships/tags" Target="../tags/tag241.xml"/><Relationship Id="rId446" Type="http://schemas.openxmlformats.org/officeDocument/2006/relationships/tags" Target="../tags/tag448.xml"/><Relationship Id="rId292" Type="http://schemas.openxmlformats.org/officeDocument/2006/relationships/tags" Target="../tags/tag294.xml"/><Relationship Id="rId306" Type="http://schemas.openxmlformats.org/officeDocument/2006/relationships/tags" Target="../tags/tag308.xml"/><Relationship Id="rId87" Type="http://schemas.openxmlformats.org/officeDocument/2006/relationships/tags" Target="../tags/tag89.xml"/><Relationship Id="rId513" Type="http://schemas.openxmlformats.org/officeDocument/2006/relationships/tags" Target="../tags/tag515.xml"/><Relationship Id="rId597" Type="http://schemas.openxmlformats.org/officeDocument/2006/relationships/image" Target="../media/image24.png"/><Relationship Id="rId152" Type="http://schemas.openxmlformats.org/officeDocument/2006/relationships/tags" Target="../tags/tag154.xml"/><Relationship Id="rId457" Type="http://schemas.openxmlformats.org/officeDocument/2006/relationships/tags" Target="../tags/tag459.xml"/><Relationship Id="rId261" Type="http://schemas.openxmlformats.org/officeDocument/2006/relationships/tags" Target="../tags/tag263.xml"/><Relationship Id="rId499" Type="http://schemas.openxmlformats.org/officeDocument/2006/relationships/tags" Target="../tags/tag501.xml"/><Relationship Id="rId14" Type="http://schemas.openxmlformats.org/officeDocument/2006/relationships/tags" Target="../tags/tag16.xml"/><Relationship Id="rId56" Type="http://schemas.openxmlformats.org/officeDocument/2006/relationships/tags" Target="../tags/tag58.xml"/><Relationship Id="rId317" Type="http://schemas.openxmlformats.org/officeDocument/2006/relationships/tags" Target="../tags/tag319.xml"/><Relationship Id="rId359" Type="http://schemas.openxmlformats.org/officeDocument/2006/relationships/tags" Target="../tags/tag361.xml"/><Relationship Id="rId524" Type="http://schemas.openxmlformats.org/officeDocument/2006/relationships/tags" Target="../tags/tag526.xml"/><Relationship Id="rId566" Type="http://schemas.openxmlformats.org/officeDocument/2006/relationships/tags" Target="../tags/tag568.xml"/><Relationship Id="rId98" Type="http://schemas.openxmlformats.org/officeDocument/2006/relationships/tags" Target="../tags/tag100.xml"/><Relationship Id="rId121" Type="http://schemas.openxmlformats.org/officeDocument/2006/relationships/tags" Target="../tags/tag123.xml"/><Relationship Id="rId163" Type="http://schemas.openxmlformats.org/officeDocument/2006/relationships/tags" Target="../tags/tag165.xml"/><Relationship Id="rId219" Type="http://schemas.openxmlformats.org/officeDocument/2006/relationships/tags" Target="../tags/tag221.xml"/><Relationship Id="rId370" Type="http://schemas.openxmlformats.org/officeDocument/2006/relationships/tags" Target="../tags/tag372.xml"/><Relationship Id="rId426" Type="http://schemas.openxmlformats.org/officeDocument/2006/relationships/tags" Target="../tags/tag428.xml"/><Relationship Id="rId230" Type="http://schemas.openxmlformats.org/officeDocument/2006/relationships/tags" Target="../tags/tag232.xml"/><Relationship Id="rId468" Type="http://schemas.openxmlformats.org/officeDocument/2006/relationships/tags" Target="../tags/tag470.xml"/><Relationship Id="rId25" Type="http://schemas.openxmlformats.org/officeDocument/2006/relationships/tags" Target="../tags/tag27.xml"/><Relationship Id="rId67" Type="http://schemas.openxmlformats.org/officeDocument/2006/relationships/tags" Target="../tags/tag69.xml"/><Relationship Id="rId272" Type="http://schemas.openxmlformats.org/officeDocument/2006/relationships/tags" Target="../tags/tag274.xml"/><Relationship Id="rId328" Type="http://schemas.openxmlformats.org/officeDocument/2006/relationships/tags" Target="../tags/tag330.xml"/><Relationship Id="rId535" Type="http://schemas.openxmlformats.org/officeDocument/2006/relationships/tags" Target="../tags/tag537.xml"/><Relationship Id="rId577" Type="http://schemas.openxmlformats.org/officeDocument/2006/relationships/image" Target="../media/image9.emf"/><Relationship Id="rId132" Type="http://schemas.openxmlformats.org/officeDocument/2006/relationships/tags" Target="../tags/tag134.xml"/><Relationship Id="rId174" Type="http://schemas.openxmlformats.org/officeDocument/2006/relationships/tags" Target="../tags/tag176.xml"/><Relationship Id="rId381" Type="http://schemas.openxmlformats.org/officeDocument/2006/relationships/tags" Target="../tags/tag383.xml"/><Relationship Id="rId241" Type="http://schemas.openxmlformats.org/officeDocument/2006/relationships/tags" Target="../tags/tag243.xml"/><Relationship Id="rId437" Type="http://schemas.openxmlformats.org/officeDocument/2006/relationships/tags" Target="../tags/tag439.xml"/><Relationship Id="rId479" Type="http://schemas.openxmlformats.org/officeDocument/2006/relationships/tags" Target="../tags/tag481.xml"/><Relationship Id="rId36" Type="http://schemas.openxmlformats.org/officeDocument/2006/relationships/tags" Target="../tags/tag38.xml"/><Relationship Id="rId283" Type="http://schemas.openxmlformats.org/officeDocument/2006/relationships/tags" Target="../tags/tag285.xml"/><Relationship Id="rId339" Type="http://schemas.openxmlformats.org/officeDocument/2006/relationships/tags" Target="../tags/tag341.xml"/><Relationship Id="rId490" Type="http://schemas.openxmlformats.org/officeDocument/2006/relationships/tags" Target="../tags/tag492.xml"/><Relationship Id="rId504" Type="http://schemas.openxmlformats.org/officeDocument/2006/relationships/tags" Target="../tags/tag506.xml"/><Relationship Id="rId546" Type="http://schemas.openxmlformats.org/officeDocument/2006/relationships/tags" Target="../tags/tag548.xml"/><Relationship Id="rId78" Type="http://schemas.openxmlformats.org/officeDocument/2006/relationships/tags" Target="../tags/tag80.xml"/><Relationship Id="rId101" Type="http://schemas.openxmlformats.org/officeDocument/2006/relationships/tags" Target="../tags/tag103.xml"/><Relationship Id="rId143" Type="http://schemas.openxmlformats.org/officeDocument/2006/relationships/tags" Target="../tags/tag145.xml"/><Relationship Id="rId185" Type="http://schemas.openxmlformats.org/officeDocument/2006/relationships/tags" Target="../tags/tag187.xml"/><Relationship Id="rId350" Type="http://schemas.openxmlformats.org/officeDocument/2006/relationships/tags" Target="../tags/tag352.xml"/><Relationship Id="rId406" Type="http://schemas.openxmlformats.org/officeDocument/2006/relationships/tags" Target="../tags/tag408.xml"/><Relationship Id="rId588" Type="http://schemas.openxmlformats.org/officeDocument/2006/relationships/image" Target="../media/image17.wmf"/><Relationship Id="rId9" Type="http://schemas.openxmlformats.org/officeDocument/2006/relationships/tags" Target="../tags/tag11.xml"/><Relationship Id="rId210" Type="http://schemas.openxmlformats.org/officeDocument/2006/relationships/tags" Target="../tags/tag212.xml"/><Relationship Id="rId392" Type="http://schemas.openxmlformats.org/officeDocument/2006/relationships/tags" Target="../tags/tag394.xml"/><Relationship Id="rId448" Type="http://schemas.openxmlformats.org/officeDocument/2006/relationships/tags" Target="../tags/tag450.xml"/><Relationship Id="rId252" Type="http://schemas.openxmlformats.org/officeDocument/2006/relationships/tags" Target="../tags/tag254.xml"/><Relationship Id="rId294" Type="http://schemas.openxmlformats.org/officeDocument/2006/relationships/tags" Target="../tags/tag296.xml"/><Relationship Id="rId308" Type="http://schemas.openxmlformats.org/officeDocument/2006/relationships/tags" Target="../tags/tag310.xml"/><Relationship Id="rId515" Type="http://schemas.openxmlformats.org/officeDocument/2006/relationships/tags" Target="../tags/tag517.xml"/><Relationship Id="rId47" Type="http://schemas.openxmlformats.org/officeDocument/2006/relationships/tags" Target="../tags/tag49.xml"/><Relationship Id="rId89" Type="http://schemas.openxmlformats.org/officeDocument/2006/relationships/tags" Target="../tags/tag91.xml"/><Relationship Id="rId112" Type="http://schemas.openxmlformats.org/officeDocument/2006/relationships/tags" Target="../tags/tag114.xml"/><Relationship Id="rId154" Type="http://schemas.openxmlformats.org/officeDocument/2006/relationships/tags" Target="../tags/tag156.xml"/><Relationship Id="rId361" Type="http://schemas.openxmlformats.org/officeDocument/2006/relationships/tags" Target="../tags/tag363.xml"/><Relationship Id="rId557" Type="http://schemas.openxmlformats.org/officeDocument/2006/relationships/tags" Target="../tags/tag559.xml"/><Relationship Id="rId599" Type="http://schemas.openxmlformats.org/officeDocument/2006/relationships/image" Target="../media/image25.emf"/><Relationship Id="rId196" Type="http://schemas.openxmlformats.org/officeDocument/2006/relationships/tags" Target="../tags/tag198.xml"/><Relationship Id="rId417" Type="http://schemas.openxmlformats.org/officeDocument/2006/relationships/tags" Target="../tags/tag419.xml"/><Relationship Id="rId459" Type="http://schemas.openxmlformats.org/officeDocument/2006/relationships/tags" Target="../tags/tag461.xml"/><Relationship Id="rId16" Type="http://schemas.openxmlformats.org/officeDocument/2006/relationships/tags" Target="../tags/tag18.xml"/><Relationship Id="rId221" Type="http://schemas.openxmlformats.org/officeDocument/2006/relationships/tags" Target="../tags/tag223.xml"/><Relationship Id="rId263" Type="http://schemas.openxmlformats.org/officeDocument/2006/relationships/tags" Target="../tags/tag265.xml"/><Relationship Id="rId319" Type="http://schemas.openxmlformats.org/officeDocument/2006/relationships/tags" Target="../tags/tag321.xml"/><Relationship Id="rId470" Type="http://schemas.openxmlformats.org/officeDocument/2006/relationships/tags" Target="../tags/tag472.xml"/><Relationship Id="rId526" Type="http://schemas.openxmlformats.org/officeDocument/2006/relationships/tags" Target="../tags/tag528.xml"/><Relationship Id="rId58" Type="http://schemas.openxmlformats.org/officeDocument/2006/relationships/tags" Target="../tags/tag60.xml"/><Relationship Id="rId123" Type="http://schemas.openxmlformats.org/officeDocument/2006/relationships/tags" Target="../tags/tag125.xml"/><Relationship Id="rId330" Type="http://schemas.openxmlformats.org/officeDocument/2006/relationships/tags" Target="../tags/tag332.xml"/><Relationship Id="rId568" Type="http://schemas.openxmlformats.org/officeDocument/2006/relationships/tags" Target="../tags/tag570.xml"/><Relationship Id="rId165" Type="http://schemas.openxmlformats.org/officeDocument/2006/relationships/tags" Target="../tags/tag167.xml"/><Relationship Id="rId372" Type="http://schemas.openxmlformats.org/officeDocument/2006/relationships/tags" Target="../tags/tag374.xml"/><Relationship Id="rId428" Type="http://schemas.openxmlformats.org/officeDocument/2006/relationships/tags" Target="../tags/tag430.xml"/><Relationship Id="rId232" Type="http://schemas.openxmlformats.org/officeDocument/2006/relationships/tags" Target="../tags/tag234.xml"/><Relationship Id="rId274" Type="http://schemas.openxmlformats.org/officeDocument/2006/relationships/tags" Target="../tags/tag276.xml"/><Relationship Id="rId481" Type="http://schemas.openxmlformats.org/officeDocument/2006/relationships/tags" Target="../tags/tag483.xml"/><Relationship Id="rId27" Type="http://schemas.openxmlformats.org/officeDocument/2006/relationships/tags" Target="../tags/tag29.xml"/><Relationship Id="rId69" Type="http://schemas.openxmlformats.org/officeDocument/2006/relationships/tags" Target="../tags/tag71.xml"/><Relationship Id="rId134" Type="http://schemas.openxmlformats.org/officeDocument/2006/relationships/tags" Target="../tags/tag136.xml"/><Relationship Id="rId537" Type="http://schemas.openxmlformats.org/officeDocument/2006/relationships/tags" Target="../tags/tag539.xml"/><Relationship Id="rId579" Type="http://schemas.openxmlformats.org/officeDocument/2006/relationships/image" Target="../media/image11.wmf"/><Relationship Id="rId80" Type="http://schemas.openxmlformats.org/officeDocument/2006/relationships/tags" Target="../tags/tag82.xml"/><Relationship Id="rId176" Type="http://schemas.openxmlformats.org/officeDocument/2006/relationships/tags" Target="../tags/tag178.xml"/><Relationship Id="rId341" Type="http://schemas.openxmlformats.org/officeDocument/2006/relationships/tags" Target="../tags/tag343.xml"/><Relationship Id="rId383" Type="http://schemas.openxmlformats.org/officeDocument/2006/relationships/tags" Target="../tags/tag385.xml"/><Relationship Id="rId439" Type="http://schemas.openxmlformats.org/officeDocument/2006/relationships/tags" Target="../tags/tag441.xml"/><Relationship Id="rId590" Type="http://schemas.openxmlformats.org/officeDocument/2006/relationships/image" Target="../media/image19.png"/><Relationship Id="rId201" Type="http://schemas.openxmlformats.org/officeDocument/2006/relationships/tags" Target="../tags/tag203.xml"/><Relationship Id="rId243" Type="http://schemas.openxmlformats.org/officeDocument/2006/relationships/tags" Target="../tags/tag245.xml"/><Relationship Id="rId285" Type="http://schemas.openxmlformats.org/officeDocument/2006/relationships/tags" Target="../tags/tag287.xml"/><Relationship Id="rId450" Type="http://schemas.openxmlformats.org/officeDocument/2006/relationships/tags" Target="../tags/tag452.xml"/><Relationship Id="rId506" Type="http://schemas.openxmlformats.org/officeDocument/2006/relationships/tags" Target="../tags/tag508.xml"/><Relationship Id="rId38" Type="http://schemas.openxmlformats.org/officeDocument/2006/relationships/tags" Target="../tags/tag40.xml"/><Relationship Id="rId103" Type="http://schemas.openxmlformats.org/officeDocument/2006/relationships/tags" Target="../tags/tag105.xml"/><Relationship Id="rId310" Type="http://schemas.openxmlformats.org/officeDocument/2006/relationships/tags" Target="../tags/tag312.xml"/><Relationship Id="rId492" Type="http://schemas.openxmlformats.org/officeDocument/2006/relationships/tags" Target="../tags/tag494.xml"/><Relationship Id="rId548" Type="http://schemas.openxmlformats.org/officeDocument/2006/relationships/tags" Target="../tags/tag550.xml"/><Relationship Id="rId91" Type="http://schemas.openxmlformats.org/officeDocument/2006/relationships/tags" Target="../tags/tag93.xml"/><Relationship Id="rId145" Type="http://schemas.openxmlformats.org/officeDocument/2006/relationships/tags" Target="../tags/tag147.xml"/><Relationship Id="rId187" Type="http://schemas.openxmlformats.org/officeDocument/2006/relationships/tags" Target="../tags/tag189.xml"/><Relationship Id="rId352" Type="http://schemas.openxmlformats.org/officeDocument/2006/relationships/tags" Target="../tags/tag354.xml"/><Relationship Id="rId394" Type="http://schemas.openxmlformats.org/officeDocument/2006/relationships/tags" Target="../tags/tag396.xml"/><Relationship Id="rId408" Type="http://schemas.openxmlformats.org/officeDocument/2006/relationships/tags" Target="../tags/tag410.xml"/><Relationship Id="rId212" Type="http://schemas.openxmlformats.org/officeDocument/2006/relationships/tags" Target="../tags/tag214.xml"/><Relationship Id="rId254" Type="http://schemas.openxmlformats.org/officeDocument/2006/relationships/tags" Target="../tags/tag256.xml"/><Relationship Id="rId49" Type="http://schemas.openxmlformats.org/officeDocument/2006/relationships/tags" Target="../tags/tag51.xml"/><Relationship Id="rId114" Type="http://schemas.openxmlformats.org/officeDocument/2006/relationships/tags" Target="../tags/tag116.xml"/><Relationship Id="rId296" Type="http://schemas.openxmlformats.org/officeDocument/2006/relationships/tags" Target="../tags/tag298.xml"/><Relationship Id="rId461" Type="http://schemas.openxmlformats.org/officeDocument/2006/relationships/tags" Target="../tags/tag463.xml"/><Relationship Id="rId517" Type="http://schemas.openxmlformats.org/officeDocument/2006/relationships/tags" Target="../tags/tag519.xml"/><Relationship Id="rId559" Type="http://schemas.openxmlformats.org/officeDocument/2006/relationships/tags" Target="../tags/tag561.xml"/><Relationship Id="rId60" Type="http://schemas.openxmlformats.org/officeDocument/2006/relationships/tags" Target="../tags/tag62.xml"/><Relationship Id="rId156" Type="http://schemas.openxmlformats.org/officeDocument/2006/relationships/tags" Target="../tags/tag158.xml"/><Relationship Id="rId198" Type="http://schemas.openxmlformats.org/officeDocument/2006/relationships/tags" Target="../tags/tag200.xml"/><Relationship Id="rId321" Type="http://schemas.openxmlformats.org/officeDocument/2006/relationships/tags" Target="../tags/tag323.xml"/><Relationship Id="rId363" Type="http://schemas.openxmlformats.org/officeDocument/2006/relationships/tags" Target="../tags/tag365.xml"/><Relationship Id="rId419" Type="http://schemas.openxmlformats.org/officeDocument/2006/relationships/tags" Target="../tags/tag421.xml"/><Relationship Id="rId570" Type="http://schemas.openxmlformats.org/officeDocument/2006/relationships/slideLayout" Target="../slideLayouts/slideLayout12.xml"/><Relationship Id="rId223" Type="http://schemas.openxmlformats.org/officeDocument/2006/relationships/tags" Target="../tags/tag225.xml"/><Relationship Id="rId430" Type="http://schemas.openxmlformats.org/officeDocument/2006/relationships/tags" Target="../tags/tag432.xml"/><Relationship Id="rId18" Type="http://schemas.openxmlformats.org/officeDocument/2006/relationships/tags" Target="../tags/tag20.xml"/><Relationship Id="rId265" Type="http://schemas.openxmlformats.org/officeDocument/2006/relationships/tags" Target="../tags/tag267.xml"/><Relationship Id="rId472" Type="http://schemas.openxmlformats.org/officeDocument/2006/relationships/tags" Target="../tags/tag474.xml"/><Relationship Id="rId528" Type="http://schemas.openxmlformats.org/officeDocument/2006/relationships/tags" Target="../tags/tag530.xml"/><Relationship Id="rId125" Type="http://schemas.openxmlformats.org/officeDocument/2006/relationships/tags" Target="../tags/tag127.xml"/><Relationship Id="rId167" Type="http://schemas.openxmlformats.org/officeDocument/2006/relationships/tags" Target="../tags/tag169.xml"/><Relationship Id="rId332" Type="http://schemas.openxmlformats.org/officeDocument/2006/relationships/tags" Target="../tags/tag334.xml"/><Relationship Id="rId374" Type="http://schemas.openxmlformats.org/officeDocument/2006/relationships/tags" Target="../tags/tag376.xml"/><Relationship Id="rId581" Type="http://schemas.openxmlformats.org/officeDocument/2006/relationships/image" Target="../media/image13.png"/><Relationship Id="rId71" Type="http://schemas.openxmlformats.org/officeDocument/2006/relationships/tags" Target="../tags/tag73.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76" Type="http://schemas.openxmlformats.org/officeDocument/2006/relationships/tags" Target="../tags/tag278.xml"/><Relationship Id="rId441" Type="http://schemas.openxmlformats.org/officeDocument/2006/relationships/tags" Target="../tags/tag443.xml"/><Relationship Id="rId483" Type="http://schemas.openxmlformats.org/officeDocument/2006/relationships/tags" Target="../tags/tag485.xml"/><Relationship Id="rId539" Type="http://schemas.openxmlformats.org/officeDocument/2006/relationships/tags" Target="../tags/tag541.xml"/><Relationship Id="rId40" Type="http://schemas.openxmlformats.org/officeDocument/2006/relationships/tags" Target="../tags/tag42.xml"/><Relationship Id="rId136" Type="http://schemas.openxmlformats.org/officeDocument/2006/relationships/tags" Target="../tags/tag138.xml"/><Relationship Id="rId178" Type="http://schemas.openxmlformats.org/officeDocument/2006/relationships/tags" Target="../tags/tag180.xml"/><Relationship Id="rId301" Type="http://schemas.openxmlformats.org/officeDocument/2006/relationships/tags" Target="../tags/tag303.xml"/><Relationship Id="rId343" Type="http://schemas.openxmlformats.org/officeDocument/2006/relationships/tags" Target="../tags/tag345.xml"/><Relationship Id="rId550" Type="http://schemas.openxmlformats.org/officeDocument/2006/relationships/tags" Target="../tags/tag552.xml"/><Relationship Id="rId82" Type="http://schemas.openxmlformats.org/officeDocument/2006/relationships/tags" Target="../tags/tag84.xml"/><Relationship Id="rId203" Type="http://schemas.openxmlformats.org/officeDocument/2006/relationships/tags" Target="../tags/tag205.xml"/><Relationship Id="rId385" Type="http://schemas.openxmlformats.org/officeDocument/2006/relationships/tags" Target="../tags/tag387.xml"/><Relationship Id="rId592" Type="http://schemas.openxmlformats.org/officeDocument/2006/relationships/image" Target="../media/image20.wmf"/><Relationship Id="rId245" Type="http://schemas.openxmlformats.org/officeDocument/2006/relationships/tags" Target="../tags/tag247.xml"/><Relationship Id="rId287" Type="http://schemas.openxmlformats.org/officeDocument/2006/relationships/tags" Target="../tags/tag289.xml"/><Relationship Id="rId410" Type="http://schemas.openxmlformats.org/officeDocument/2006/relationships/tags" Target="../tags/tag412.xml"/><Relationship Id="rId452" Type="http://schemas.openxmlformats.org/officeDocument/2006/relationships/tags" Target="../tags/tag454.xml"/><Relationship Id="rId494" Type="http://schemas.openxmlformats.org/officeDocument/2006/relationships/tags" Target="../tags/tag496.xml"/><Relationship Id="rId508" Type="http://schemas.openxmlformats.org/officeDocument/2006/relationships/tags" Target="../tags/tag510.xml"/><Relationship Id="rId105" Type="http://schemas.openxmlformats.org/officeDocument/2006/relationships/tags" Target="../tags/tag107.xml"/><Relationship Id="rId147" Type="http://schemas.openxmlformats.org/officeDocument/2006/relationships/tags" Target="../tags/tag149.xml"/><Relationship Id="rId312" Type="http://schemas.openxmlformats.org/officeDocument/2006/relationships/tags" Target="../tags/tag314.xml"/><Relationship Id="rId354" Type="http://schemas.openxmlformats.org/officeDocument/2006/relationships/tags" Target="../tags/tag356.xml"/><Relationship Id="rId51" Type="http://schemas.openxmlformats.org/officeDocument/2006/relationships/tags" Target="../tags/tag53.xml"/><Relationship Id="rId93" Type="http://schemas.openxmlformats.org/officeDocument/2006/relationships/tags" Target="../tags/tag95.xml"/><Relationship Id="rId189" Type="http://schemas.openxmlformats.org/officeDocument/2006/relationships/tags" Target="../tags/tag191.xml"/><Relationship Id="rId396" Type="http://schemas.openxmlformats.org/officeDocument/2006/relationships/tags" Target="../tags/tag398.xml"/><Relationship Id="rId561" Type="http://schemas.openxmlformats.org/officeDocument/2006/relationships/tags" Target="../tags/tag563.xml"/><Relationship Id="rId214" Type="http://schemas.openxmlformats.org/officeDocument/2006/relationships/tags" Target="../tags/tag216.xml"/><Relationship Id="rId256" Type="http://schemas.openxmlformats.org/officeDocument/2006/relationships/tags" Target="../tags/tag258.xml"/><Relationship Id="rId298" Type="http://schemas.openxmlformats.org/officeDocument/2006/relationships/tags" Target="../tags/tag300.xml"/><Relationship Id="rId421" Type="http://schemas.openxmlformats.org/officeDocument/2006/relationships/tags" Target="../tags/tag423.xml"/><Relationship Id="rId463" Type="http://schemas.openxmlformats.org/officeDocument/2006/relationships/tags" Target="../tags/tag465.xml"/><Relationship Id="rId519" Type="http://schemas.openxmlformats.org/officeDocument/2006/relationships/tags" Target="../tags/tag521.xml"/><Relationship Id="rId116" Type="http://schemas.openxmlformats.org/officeDocument/2006/relationships/tags" Target="../tags/tag118.xml"/><Relationship Id="rId158" Type="http://schemas.openxmlformats.org/officeDocument/2006/relationships/tags" Target="../tags/tag160.xml"/><Relationship Id="rId323" Type="http://schemas.openxmlformats.org/officeDocument/2006/relationships/tags" Target="../tags/tag325.xml"/><Relationship Id="rId530" Type="http://schemas.openxmlformats.org/officeDocument/2006/relationships/tags" Target="../tags/tag532.xml"/><Relationship Id="rId20" Type="http://schemas.openxmlformats.org/officeDocument/2006/relationships/tags" Target="../tags/tag22.xml"/><Relationship Id="rId62" Type="http://schemas.openxmlformats.org/officeDocument/2006/relationships/tags" Target="../tags/tag64.xml"/><Relationship Id="rId365" Type="http://schemas.openxmlformats.org/officeDocument/2006/relationships/tags" Target="../tags/tag367.xml"/><Relationship Id="rId572" Type="http://schemas.openxmlformats.org/officeDocument/2006/relationships/oleObject" Target="../embeddings/oleObject2.bin"/><Relationship Id="rId225" Type="http://schemas.openxmlformats.org/officeDocument/2006/relationships/tags" Target="../tags/tag227.xml"/><Relationship Id="rId267" Type="http://schemas.openxmlformats.org/officeDocument/2006/relationships/tags" Target="../tags/tag269.xml"/><Relationship Id="rId432" Type="http://schemas.openxmlformats.org/officeDocument/2006/relationships/tags" Target="../tags/tag434.xml"/><Relationship Id="rId474" Type="http://schemas.openxmlformats.org/officeDocument/2006/relationships/tags" Target="../tags/tag476.xml"/><Relationship Id="rId127" Type="http://schemas.openxmlformats.org/officeDocument/2006/relationships/tags" Target="../tags/tag129.xml"/><Relationship Id="rId31" Type="http://schemas.openxmlformats.org/officeDocument/2006/relationships/tags" Target="../tags/tag33.xml"/><Relationship Id="rId73" Type="http://schemas.openxmlformats.org/officeDocument/2006/relationships/tags" Target="../tags/tag75.xml"/><Relationship Id="rId169" Type="http://schemas.openxmlformats.org/officeDocument/2006/relationships/tags" Target="../tags/tag171.xml"/><Relationship Id="rId334" Type="http://schemas.openxmlformats.org/officeDocument/2006/relationships/tags" Target="../tags/tag336.xml"/><Relationship Id="rId376" Type="http://schemas.openxmlformats.org/officeDocument/2006/relationships/tags" Target="../tags/tag378.xml"/><Relationship Id="rId541" Type="http://schemas.openxmlformats.org/officeDocument/2006/relationships/tags" Target="../tags/tag543.xml"/><Relationship Id="rId583" Type="http://schemas.openxmlformats.org/officeDocument/2006/relationships/image" Target="../media/image14.png"/><Relationship Id="rId4" Type="http://schemas.openxmlformats.org/officeDocument/2006/relationships/tags" Target="../tags/tag6.xml"/><Relationship Id="rId180" Type="http://schemas.openxmlformats.org/officeDocument/2006/relationships/tags" Target="../tags/tag182.xml"/><Relationship Id="rId236" Type="http://schemas.openxmlformats.org/officeDocument/2006/relationships/tags" Target="../tags/tag238.xml"/><Relationship Id="rId278" Type="http://schemas.openxmlformats.org/officeDocument/2006/relationships/tags" Target="../tags/tag280.xml"/><Relationship Id="rId401" Type="http://schemas.openxmlformats.org/officeDocument/2006/relationships/tags" Target="../tags/tag403.xml"/><Relationship Id="rId443" Type="http://schemas.openxmlformats.org/officeDocument/2006/relationships/tags" Target="../tags/tag445.xml"/><Relationship Id="rId303" Type="http://schemas.openxmlformats.org/officeDocument/2006/relationships/tags" Target="../tags/tag305.xml"/><Relationship Id="rId485" Type="http://schemas.openxmlformats.org/officeDocument/2006/relationships/tags" Target="../tags/tag487.xml"/><Relationship Id="rId42" Type="http://schemas.openxmlformats.org/officeDocument/2006/relationships/tags" Target="../tags/tag44.xml"/><Relationship Id="rId84" Type="http://schemas.openxmlformats.org/officeDocument/2006/relationships/tags" Target="../tags/tag86.xml"/><Relationship Id="rId138" Type="http://schemas.openxmlformats.org/officeDocument/2006/relationships/tags" Target="../tags/tag140.xml"/><Relationship Id="rId345" Type="http://schemas.openxmlformats.org/officeDocument/2006/relationships/tags" Target="../tags/tag347.xml"/><Relationship Id="rId387" Type="http://schemas.openxmlformats.org/officeDocument/2006/relationships/tags" Target="../tags/tag389.xml"/><Relationship Id="rId510" Type="http://schemas.openxmlformats.org/officeDocument/2006/relationships/tags" Target="../tags/tag512.xml"/><Relationship Id="rId552" Type="http://schemas.openxmlformats.org/officeDocument/2006/relationships/tags" Target="../tags/tag554.xml"/><Relationship Id="rId594" Type="http://schemas.openxmlformats.org/officeDocument/2006/relationships/image" Target="../media/image22.png"/><Relationship Id="rId191" Type="http://schemas.openxmlformats.org/officeDocument/2006/relationships/tags" Target="../tags/tag193.xml"/><Relationship Id="rId205" Type="http://schemas.openxmlformats.org/officeDocument/2006/relationships/tags" Target="../tags/tag207.xml"/><Relationship Id="rId247" Type="http://schemas.openxmlformats.org/officeDocument/2006/relationships/tags" Target="../tags/tag249.xml"/><Relationship Id="rId412" Type="http://schemas.openxmlformats.org/officeDocument/2006/relationships/tags" Target="../tags/tag414.xml"/><Relationship Id="rId107" Type="http://schemas.openxmlformats.org/officeDocument/2006/relationships/tags" Target="../tags/tag109.xml"/><Relationship Id="rId289" Type="http://schemas.openxmlformats.org/officeDocument/2006/relationships/tags" Target="../tags/tag291.xml"/><Relationship Id="rId454" Type="http://schemas.openxmlformats.org/officeDocument/2006/relationships/tags" Target="../tags/tag456.xml"/><Relationship Id="rId496" Type="http://schemas.openxmlformats.org/officeDocument/2006/relationships/tags" Target="../tags/tag498.xml"/><Relationship Id="rId11" Type="http://schemas.openxmlformats.org/officeDocument/2006/relationships/tags" Target="../tags/tag13.xml"/><Relationship Id="rId53" Type="http://schemas.openxmlformats.org/officeDocument/2006/relationships/tags" Target="../tags/tag55.xml"/><Relationship Id="rId149" Type="http://schemas.openxmlformats.org/officeDocument/2006/relationships/tags" Target="../tags/tag151.xml"/><Relationship Id="rId314" Type="http://schemas.openxmlformats.org/officeDocument/2006/relationships/tags" Target="../tags/tag316.xml"/><Relationship Id="rId356" Type="http://schemas.openxmlformats.org/officeDocument/2006/relationships/tags" Target="../tags/tag358.xml"/><Relationship Id="rId398" Type="http://schemas.openxmlformats.org/officeDocument/2006/relationships/tags" Target="../tags/tag400.xml"/><Relationship Id="rId521" Type="http://schemas.openxmlformats.org/officeDocument/2006/relationships/tags" Target="../tags/tag523.xml"/><Relationship Id="rId563" Type="http://schemas.openxmlformats.org/officeDocument/2006/relationships/tags" Target="../tags/tag565.xml"/><Relationship Id="rId95" Type="http://schemas.openxmlformats.org/officeDocument/2006/relationships/tags" Target="../tags/tag97.xml"/><Relationship Id="rId160" Type="http://schemas.openxmlformats.org/officeDocument/2006/relationships/tags" Target="../tags/tag162.xml"/><Relationship Id="rId216" Type="http://schemas.openxmlformats.org/officeDocument/2006/relationships/tags" Target="../tags/tag218.xml"/><Relationship Id="rId423" Type="http://schemas.openxmlformats.org/officeDocument/2006/relationships/tags" Target="../tags/tag425.xml"/><Relationship Id="rId258" Type="http://schemas.openxmlformats.org/officeDocument/2006/relationships/tags" Target="../tags/tag260.xml"/><Relationship Id="rId465" Type="http://schemas.openxmlformats.org/officeDocument/2006/relationships/tags" Target="../tags/tag467.xml"/><Relationship Id="rId22" Type="http://schemas.openxmlformats.org/officeDocument/2006/relationships/tags" Target="../tags/tag24.xml"/><Relationship Id="rId64" Type="http://schemas.openxmlformats.org/officeDocument/2006/relationships/tags" Target="../tags/tag66.xml"/><Relationship Id="rId118" Type="http://schemas.openxmlformats.org/officeDocument/2006/relationships/tags" Target="../tags/tag120.xml"/><Relationship Id="rId325" Type="http://schemas.openxmlformats.org/officeDocument/2006/relationships/tags" Target="../tags/tag327.xml"/><Relationship Id="rId367" Type="http://schemas.openxmlformats.org/officeDocument/2006/relationships/tags" Target="../tags/tag369.xml"/><Relationship Id="rId532" Type="http://schemas.openxmlformats.org/officeDocument/2006/relationships/tags" Target="../tags/tag534.xml"/><Relationship Id="rId574" Type="http://schemas.openxmlformats.org/officeDocument/2006/relationships/image" Target="../media/image6.emf"/><Relationship Id="rId171" Type="http://schemas.openxmlformats.org/officeDocument/2006/relationships/tags" Target="../tags/tag173.xml"/><Relationship Id="rId227" Type="http://schemas.openxmlformats.org/officeDocument/2006/relationships/tags" Target="../tags/tag229.xml"/><Relationship Id="rId269" Type="http://schemas.openxmlformats.org/officeDocument/2006/relationships/tags" Target="../tags/tag271.xml"/><Relationship Id="rId434" Type="http://schemas.openxmlformats.org/officeDocument/2006/relationships/tags" Target="../tags/tag436.xml"/><Relationship Id="rId476" Type="http://schemas.openxmlformats.org/officeDocument/2006/relationships/tags" Target="../tags/tag478.xml"/><Relationship Id="rId33" Type="http://schemas.openxmlformats.org/officeDocument/2006/relationships/tags" Target="../tags/tag35.xml"/><Relationship Id="rId129" Type="http://schemas.openxmlformats.org/officeDocument/2006/relationships/tags" Target="../tags/tag131.xml"/><Relationship Id="rId280" Type="http://schemas.openxmlformats.org/officeDocument/2006/relationships/tags" Target="../tags/tag282.xml"/><Relationship Id="rId336" Type="http://schemas.openxmlformats.org/officeDocument/2006/relationships/tags" Target="../tags/tag338.xml"/><Relationship Id="rId501" Type="http://schemas.openxmlformats.org/officeDocument/2006/relationships/tags" Target="../tags/tag503.xml"/><Relationship Id="rId543" Type="http://schemas.openxmlformats.org/officeDocument/2006/relationships/tags" Target="../tags/tag545.xml"/><Relationship Id="rId75" Type="http://schemas.openxmlformats.org/officeDocument/2006/relationships/tags" Target="../tags/tag77.xml"/><Relationship Id="rId140" Type="http://schemas.openxmlformats.org/officeDocument/2006/relationships/tags" Target="../tags/tag142.xml"/><Relationship Id="rId182" Type="http://schemas.openxmlformats.org/officeDocument/2006/relationships/tags" Target="../tags/tag184.xml"/><Relationship Id="rId378" Type="http://schemas.openxmlformats.org/officeDocument/2006/relationships/tags" Target="../tags/tag380.xml"/><Relationship Id="rId403" Type="http://schemas.openxmlformats.org/officeDocument/2006/relationships/tags" Target="../tags/tag405.xml"/><Relationship Id="rId585" Type="http://schemas.openxmlformats.org/officeDocument/2006/relationships/image" Target="../media/image15.wmf"/><Relationship Id="rId6" Type="http://schemas.openxmlformats.org/officeDocument/2006/relationships/tags" Target="../tags/tag8.xml"/><Relationship Id="rId238" Type="http://schemas.openxmlformats.org/officeDocument/2006/relationships/tags" Target="../tags/tag240.xml"/><Relationship Id="rId445" Type="http://schemas.openxmlformats.org/officeDocument/2006/relationships/tags" Target="../tags/tag447.xml"/><Relationship Id="rId487" Type="http://schemas.openxmlformats.org/officeDocument/2006/relationships/tags" Target="../tags/tag489.xml"/><Relationship Id="rId291" Type="http://schemas.openxmlformats.org/officeDocument/2006/relationships/tags" Target="../tags/tag293.xml"/><Relationship Id="rId305" Type="http://schemas.openxmlformats.org/officeDocument/2006/relationships/tags" Target="../tags/tag307.xml"/><Relationship Id="rId347" Type="http://schemas.openxmlformats.org/officeDocument/2006/relationships/tags" Target="../tags/tag349.xml"/><Relationship Id="rId512" Type="http://schemas.openxmlformats.org/officeDocument/2006/relationships/tags" Target="../tags/tag514.xml"/><Relationship Id="rId44" Type="http://schemas.openxmlformats.org/officeDocument/2006/relationships/tags" Target="../tags/tag46.xml"/><Relationship Id="rId86" Type="http://schemas.openxmlformats.org/officeDocument/2006/relationships/tags" Target="../tags/tag88.xml"/><Relationship Id="rId151" Type="http://schemas.openxmlformats.org/officeDocument/2006/relationships/tags" Target="../tags/tag153.xml"/><Relationship Id="rId389" Type="http://schemas.openxmlformats.org/officeDocument/2006/relationships/tags" Target="../tags/tag391.xml"/><Relationship Id="rId554" Type="http://schemas.openxmlformats.org/officeDocument/2006/relationships/tags" Target="../tags/tag556.xml"/><Relationship Id="rId596" Type="http://schemas.openxmlformats.org/officeDocument/2006/relationships/image" Target="../media/image23.png"/><Relationship Id="rId193" Type="http://schemas.openxmlformats.org/officeDocument/2006/relationships/tags" Target="../tags/tag195.xml"/><Relationship Id="rId207" Type="http://schemas.openxmlformats.org/officeDocument/2006/relationships/tags" Target="../tags/tag209.xml"/><Relationship Id="rId249" Type="http://schemas.openxmlformats.org/officeDocument/2006/relationships/tags" Target="../tags/tag251.xml"/><Relationship Id="rId414" Type="http://schemas.openxmlformats.org/officeDocument/2006/relationships/tags" Target="../tags/tag416.xml"/><Relationship Id="rId456" Type="http://schemas.openxmlformats.org/officeDocument/2006/relationships/tags" Target="../tags/tag458.xml"/><Relationship Id="rId498" Type="http://schemas.openxmlformats.org/officeDocument/2006/relationships/tags" Target="../tags/tag500.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316" Type="http://schemas.openxmlformats.org/officeDocument/2006/relationships/tags" Target="../tags/tag318.xml"/><Relationship Id="rId523" Type="http://schemas.openxmlformats.org/officeDocument/2006/relationships/tags" Target="../tags/tag525.xml"/><Relationship Id="rId55" Type="http://schemas.openxmlformats.org/officeDocument/2006/relationships/tags" Target="../tags/tag57.xml"/><Relationship Id="rId97" Type="http://schemas.openxmlformats.org/officeDocument/2006/relationships/tags" Target="../tags/tag99.xml"/><Relationship Id="rId120" Type="http://schemas.openxmlformats.org/officeDocument/2006/relationships/tags" Target="../tags/tag122.xml"/><Relationship Id="rId358" Type="http://schemas.openxmlformats.org/officeDocument/2006/relationships/tags" Target="../tags/tag360.xml"/><Relationship Id="rId565" Type="http://schemas.openxmlformats.org/officeDocument/2006/relationships/tags" Target="../tags/tag567.xml"/><Relationship Id="rId162" Type="http://schemas.openxmlformats.org/officeDocument/2006/relationships/tags" Target="../tags/tag164.xml"/><Relationship Id="rId218" Type="http://schemas.openxmlformats.org/officeDocument/2006/relationships/tags" Target="../tags/tag220.xml"/><Relationship Id="rId425" Type="http://schemas.openxmlformats.org/officeDocument/2006/relationships/tags" Target="../tags/tag427.xml"/><Relationship Id="rId467" Type="http://schemas.openxmlformats.org/officeDocument/2006/relationships/tags" Target="../tags/tag469.xml"/><Relationship Id="rId271" Type="http://schemas.openxmlformats.org/officeDocument/2006/relationships/tags" Target="../tags/tag273.xml"/><Relationship Id="rId24" Type="http://schemas.openxmlformats.org/officeDocument/2006/relationships/tags" Target="../tags/tag26.xml"/><Relationship Id="rId66" Type="http://schemas.openxmlformats.org/officeDocument/2006/relationships/tags" Target="../tags/tag68.xml"/><Relationship Id="rId131" Type="http://schemas.openxmlformats.org/officeDocument/2006/relationships/tags" Target="../tags/tag133.xml"/><Relationship Id="rId327" Type="http://schemas.openxmlformats.org/officeDocument/2006/relationships/tags" Target="../tags/tag329.xml"/><Relationship Id="rId369" Type="http://schemas.openxmlformats.org/officeDocument/2006/relationships/tags" Target="../tags/tag371.xml"/><Relationship Id="rId534" Type="http://schemas.openxmlformats.org/officeDocument/2006/relationships/tags" Target="../tags/tag536.xml"/><Relationship Id="rId576" Type="http://schemas.openxmlformats.org/officeDocument/2006/relationships/image" Target="../media/image8.emf"/><Relationship Id="rId173" Type="http://schemas.openxmlformats.org/officeDocument/2006/relationships/tags" Target="../tags/tag175.xml"/><Relationship Id="rId229" Type="http://schemas.openxmlformats.org/officeDocument/2006/relationships/tags" Target="../tags/tag231.xml"/><Relationship Id="rId380" Type="http://schemas.openxmlformats.org/officeDocument/2006/relationships/tags" Target="../tags/tag382.xml"/><Relationship Id="rId436" Type="http://schemas.openxmlformats.org/officeDocument/2006/relationships/tags" Target="../tags/tag438.xml"/><Relationship Id="rId240" Type="http://schemas.openxmlformats.org/officeDocument/2006/relationships/tags" Target="../tags/tag242.xml"/><Relationship Id="rId478" Type="http://schemas.openxmlformats.org/officeDocument/2006/relationships/tags" Target="../tags/tag480.xml"/><Relationship Id="rId35" Type="http://schemas.openxmlformats.org/officeDocument/2006/relationships/tags" Target="../tags/tag37.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38" Type="http://schemas.openxmlformats.org/officeDocument/2006/relationships/tags" Target="../tags/tag340.xml"/><Relationship Id="rId503" Type="http://schemas.openxmlformats.org/officeDocument/2006/relationships/tags" Target="../tags/tag505.xml"/><Relationship Id="rId545" Type="http://schemas.openxmlformats.org/officeDocument/2006/relationships/tags" Target="../tags/tag547.xml"/><Relationship Id="rId587" Type="http://schemas.microsoft.com/office/2007/relationships/hdphoto" Target="../media/hdphoto3.wdp"/><Relationship Id="rId8" Type="http://schemas.openxmlformats.org/officeDocument/2006/relationships/tags" Target="../tags/tag10.xml"/><Relationship Id="rId142" Type="http://schemas.openxmlformats.org/officeDocument/2006/relationships/tags" Target="../tags/tag144.xml"/><Relationship Id="rId184" Type="http://schemas.openxmlformats.org/officeDocument/2006/relationships/tags" Target="../tags/tag186.xml"/><Relationship Id="rId391" Type="http://schemas.openxmlformats.org/officeDocument/2006/relationships/tags" Target="../tags/tag393.xml"/><Relationship Id="rId405" Type="http://schemas.openxmlformats.org/officeDocument/2006/relationships/tags" Target="../tags/tag407.xml"/><Relationship Id="rId447" Type="http://schemas.openxmlformats.org/officeDocument/2006/relationships/tags" Target="../tags/tag449.xml"/><Relationship Id="rId251" Type="http://schemas.openxmlformats.org/officeDocument/2006/relationships/tags" Target="../tags/tag253.xml"/><Relationship Id="rId489" Type="http://schemas.openxmlformats.org/officeDocument/2006/relationships/tags" Target="../tags/tag491.xml"/><Relationship Id="rId46" Type="http://schemas.openxmlformats.org/officeDocument/2006/relationships/tags" Target="../tags/tag48.xml"/><Relationship Id="rId293" Type="http://schemas.openxmlformats.org/officeDocument/2006/relationships/tags" Target="../tags/tag295.xml"/><Relationship Id="rId307" Type="http://schemas.openxmlformats.org/officeDocument/2006/relationships/tags" Target="../tags/tag309.xml"/><Relationship Id="rId349" Type="http://schemas.openxmlformats.org/officeDocument/2006/relationships/tags" Target="../tags/tag351.xml"/><Relationship Id="rId514" Type="http://schemas.openxmlformats.org/officeDocument/2006/relationships/tags" Target="../tags/tag516.xml"/><Relationship Id="rId556" Type="http://schemas.openxmlformats.org/officeDocument/2006/relationships/tags" Target="../tags/tag558.xml"/><Relationship Id="rId88" Type="http://schemas.openxmlformats.org/officeDocument/2006/relationships/tags" Target="../tags/tag90.xml"/><Relationship Id="rId111" Type="http://schemas.openxmlformats.org/officeDocument/2006/relationships/tags" Target="../tags/tag113.xml"/><Relationship Id="rId153" Type="http://schemas.openxmlformats.org/officeDocument/2006/relationships/tags" Target="../tags/tag155.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416" Type="http://schemas.openxmlformats.org/officeDocument/2006/relationships/tags" Target="../tags/tag418.xml"/><Relationship Id="rId598" Type="http://schemas.microsoft.com/office/2007/relationships/hdphoto" Target="../media/hdphoto6.wdp"/><Relationship Id="rId220" Type="http://schemas.openxmlformats.org/officeDocument/2006/relationships/tags" Target="../tags/tag222.xml"/><Relationship Id="rId458" Type="http://schemas.openxmlformats.org/officeDocument/2006/relationships/tags" Target="../tags/tag460.xml"/><Relationship Id="rId15" Type="http://schemas.openxmlformats.org/officeDocument/2006/relationships/tags" Target="../tags/tag17.xml"/><Relationship Id="rId57" Type="http://schemas.openxmlformats.org/officeDocument/2006/relationships/tags" Target="../tags/tag59.xml"/><Relationship Id="rId262" Type="http://schemas.openxmlformats.org/officeDocument/2006/relationships/tags" Target="../tags/tag264.xml"/><Relationship Id="rId318" Type="http://schemas.openxmlformats.org/officeDocument/2006/relationships/tags" Target="../tags/tag320.xml"/><Relationship Id="rId525" Type="http://schemas.openxmlformats.org/officeDocument/2006/relationships/tags" Target="../tags/tag527.xml"/><Relationship Id="rId567" Type="http://schemas.openxmlformats.org/officeDocument/2006/relationships/tags" Target="../tags/tag569.xml"/><Relationship Id="rId99" Type="http://schemas.openxmlformats.org/officeDocument/2006/relationships/tags" Target="../tags/tag101.xml"/><Relationship Id="rId122" Type="http://schemas.openxmlformats.org/officeDocument/2006/relationships/tags" Target="../tags/tag124.xml"/><Relationship Id="rId164" Type="http://schemas.openxmlformats.org/officeDocument/2006/relationships/tags" Target="../tags/tag166.xml"/><Relationship Id="rId371" Type="http://schemas.openxmlformats.org/officeDocument/2006/relationships/tags" Target="../tags/tag373.xml"/><Relationship Id="rId427" Type="http://schemas.openxmlformats.org/officeDocument/2006/relationships/tags" Target="../tags/tag429.xml"/><Relationship Id="rId469" Type="http://schemas.openxmlformats.org/officeDocument/2006/relationships/tags" Target="../tags/tag471.xml"/><Relationship Id="rId26" Type="http://schemas.openxmlformats.org/officeDocument/2006/relationships/tags" Target="../tags/tag28.xml"/><Relationship Id="rId231" Type="http://schemas.openxmlformats.org/officeDocument/2006/relationships/tags" Target="../tags/tag233.xml"/><Relationship Id="rId273" Type="http://schemas.openxmlformats.org/officeDocument/2006/relationships/tags" Target="../tags/tag275.xml"/><Relationship Id="rId329" Type="http://schemas.openxmlformats.org/officeDocument/2006/relationships/tags" Target="../tags/tag331.xml"/><Relationship Id="rId480" Type="http://schemas.openxmlformats.org/officeDocument/2006/relationships/tags" Target="../tags/tag482.xml"/><Relationship Id="rId536" Type="http://schemas.openxmlformats.org/officeDocument/2006/relationships/tags" Target="../tags/tag538.xml"/><Relationship Id="rId68" Type="http://schemas.openxmlformats.org/officeDocument/2006/relationships/tags" Target="../tags/tag70.xml"/><Relationship Id="rId133" Type="http://schemas.openxmlformats.org/officeDocument/2006/relationships/tags" Target="../tags/tag135.xml"/><Relationship Id="rId175" Type="http://schemas.openxmlformats.org/officeDocument/2006/relationships/tags" Target="../tags/tag177.xml"/><Relationship Id="rId340" Type="http://schemas.openxmlformats.org/officeDocument/2006/relationships/tags" Target="../tags/tag342.xml"/><Relationship Id="rId578" Type="http://schemas.openxmlformats.org/officeDocument/2006/relationships/image" Target="../media/image10.emf"/><Relationship Id="rId200" Type="http://schemas.openxmlformats.org/officeDocument/2006/relationships/tags" Target="../tags/tag202.xml"/><Relationship Id="rId382" Type="http://schemas.openxmlformats.org/officeDocument/2006/relationships/tags" Target="../tags/tag384.xml"/><Relationship Id="rId438" Type="http://schemas.openxmlformats.org/officeDocument/2006/relationships/tags" Target="../tags/tag440.xml"/><Relationship Id="rId242" Type="http://schemas.openxmlformats.org/officeDocument/2006/relationships/tags" Target="../tags/tag244.xml"/><Relationship Id="rId284" Type="http://schemas.openxmlformats.org/officeDocument/2006/relationships/tags" Target="../tags/tag286.xml"/><Relationship Id="rId491" Type="http://schemas.openxmlformats.org/officeDocument/2006/relationships/tags" Target="../tags/tag493.xml"/><Relationship Id="rId505" Type="http://schemas.openxmlformats.org/officeDocument/2006/relationships/tags" Target="../tags/tag507.xml"/><Relationship Id="rId37" Type="http://schemas.openxmlformats.org/officeDocument/2006/relationships/tags" Target="../tags/tag39.xml"/><Relationship Id="rId79" Type="http://schemas.openxmlformats.org/officeDocument/2006/relationships/tags" Target="../tags/tag81.xml"/><Relationship Id="rId102" Type="http://schemas.openxmlformats.org/officeDocument/2006/relationships/tags" Target="../tags/tag104.xml"/><Relationship Id="rId144" Type="http://schemas.openxmlformats.org/officeDocument/2006/relationships/tags" Target="../tags/tag146.xml"/><Relationship Id="rId547" Type="http://schemas.openxmlformats.org/officeDocument/2006/relationships/tags" Target="../tags/tag549.xml"/><Relationship Id="rId589" Type="http://schemas.openxmlformats.org/officeDocument/2006/relationships/image" Target="../media/image18.wmf"/><Relationship Id="rId90" Type="http://schemas.openxmlformats.org/officeDocument/2006/relationships/tags" Target="../tags/tag92.xml"/><Relationship Id="rId186" Type="http://schemas.openxmlformats.org/officeDocument/2006/relationships/tags" Target="../tags/tag188.xml"/><Relationship Id="rId351" Type="http://schemas.openxmlformats.org/officeDocument/2006/relationships/tags" Target="../tags/tag353.xml"/><Relationship Id="rId393" Type="http://schemas.openxmlformats.org/officeDocument/2006/relationships/tags" Target="../tags/tag395.xml"/><Relationship Id="rId407" Type="http://schemas.openxmlformats.org/officeDocument/2006/relationships/tags" Target="../tags/tag409.xml"/><Relationship Id="rId449" Type="http://schemas.openxmlformats.org/officeDocument/2006/relationships/tags" Target="../tags/tag451.xml"/><Relationship Id="rId211" Type="http://schemas.openxmlformats.org/officeDocument/2006/relationships/tags" Target="../tags/tag213.xml"/><Relationship Id="rId253" Type="http://schemas.openxmlformats.org/officeDocument/2006/relationships/tags" Target="../tags/tag255.xml"/><Relationship Id="rId295" Type="http://schemas.openxmlformats.org/officeDocument/2006/relationships/tags" Target="../tags/tag297.xml"/><Relationship Id="rId309" Type="http://schemas.openxmlformats.org/officeDocument/2006/relationships/tags" Target="../tags/tag311.xml"/><Relationship Id="rId460" Type="http://schemas.openxmlformats.org/officeDocument/2006/relationships/tags" Target="../tags/tag462.xml"/><Relationship Id="rId516" Type="http://schemas.openxmlformats.org/officeDocument/2006/relationships/tags" Target="../tags/tag518.xml"/><Relationship Id="rId48" Type="http://schemas.openxmlformats.org/officeDocument/2006/relationships/tags" Target="../tags/tag50.xml"/><Relationship Id="rId113" Type="http://schemas.openxmlformats.org/officeDocument/2006/relationships/tags" Target="../tags/tag115.xml"/><Relationship Id="rId320" Type="http://schemas.openxmlformats.org/officeDocument/2006/relationships/tags" Target="../tags/tag322.xml"/><Relationship Id="rId558" Type="http://schemas.openxmlformats.org/officeDocument/2006/relationships/tags" Target="../tags/tag560.xml"/><Relationship Id="rId155" Type="http://schemas.openxmlformats.org/officeDocument/2006/relationships/tags" Target="../tags/tag157.xml"/><Relationship Id="rId197" Type="http://schemas.openxmlformats.org/officeDocument/2006/relationships/tags" Target="../tags/tag199.xml"/><Relationship Id="rId362" Type="http://schemas.openxmlformats.org/officeDocument/2006/relationships/tags" Target="../tags/tag364.xml"/><Relationship Id="rId418" Type="http://schemas.openxmlformats.org/officeDocument/2006/relationships/tags" Target="../tags/tag420.xml"/><Relationship Id="rId222" Type="http://schemas.openxmlformats.org/officeDocument/2006/relationships/tags" Target="../tags/tag224.xml"/><Relationship Id="rId264" Type="http://schemas.openxmlformats.org/officeDocument/2006/relationships/tags" Target="../tags/tag266.xml"/><Relationship Id="rId471" Type="http://schemas.openxmlformats.org/officeDocument/2006/relationships/tags" Target="../tags/tag473.xml"/><Relationship Id="rId17" Type="http://schemas.openxmlformats.org/officeDocument/2006/relationships/tags" Target="../tags/tag19.xml"/><Relationship Id="rId59" Type="http://schemas.openxmlformats.org/officeDocument/2006/relationships/tags" Target="../tags/tag61.xml"/><Relationship Id="rId124" Type="http://schemas.openxmlformats.org/officeDocument/2006/relationships/tags" Target="../tags/tag126.xml"/><Relationship Id="rId527" Type="http://schemas.openxmlformats.org/officeDocument/2006/relationships/tags" Target="../tags/tag529.xml"/><Relationship Id="rId569" Type="http://schemas.openxmlformats.org/officeDocument/2006/relationships/tags" Target="../tags/tag571.xml"/><Relationship Id="rId70" Type="http://schemas.openxmlformats.org/officeDocument/2006/relationships/tags" Target="../tags/tag72.xml"/><Relationship Id="rId166" Type="http://schemas.openxmlformats.org/officeDocument/2006/relationships/tags" Target="../tags/tag168.xml"/><Relationship Id="rId331" Type="http://schemas.openxmlformats.org/officeDocument/2006/relationships/tags" Target="../tags/tag333.xml"/><Relationship Id="rId373" Type="http://schemas.openxmlformats.org/officeDocument/2006/relationships/tags" Target="../tags/tag375.xml"/><Relationship Id="rId429" Type="http://schemas.openxmlformats.org/officeDocument/2006/relationships/tags" Target="../tags/tag431.xml"/><Relationship Id="rId580" Type="http://schemas.openxmlformats.org/officeDocument/2006/relationships/image" Target="../media/image12.wmf"/><Relationship Id="rId1" Type="http://schemas.openxmlformats.org/officeDocument/2006/relationships/vmlDrawing" Target="../drawings/vmlDrawing2.vml"/><Relationship Id="rId233" Type="http://schemas.openxmlformats.org/officeDocument/2006/relationships/tags" Target="../tags/tag235.xml"/><Relationship Id="rId440" Type="http://schemas.openxmlformats.org/officeDocument/2006/relationships/tags" Target="../tags/tag442.xml"/><Relationship Id="rId28" Type="http://schemas.openxmlformats.org/officeDocument/2006/relationships/tags" Target="../tags/tag30.xml"/><Relationship Id="rId275" Type="http://schemas.openxmlformats.org/officeDocument/2006/relationships/tags" Target="../tags/tag277.xml"/><Relationship Id="rId300" Type="http://schemas.openxmlformats.org/officeDocument/2006/relationships/tags" Target="../tags/tag302.xml"/><Relationship Id="rId482" Type="http://schemas.openxmlformats.org/officeDocument/2006/relationships/tags" Target="../tags/tag484.xml"/><Relationship Id="rId538" Type="http://schemas.openxmlformats.org/officeDocument/2006/relationships/tags" Target="../tags/tag540.xml"/><Relationship Id="rId81" Type="http://schemas.openxmlformats.org/officeDocument/2006/relationships/tags" Target="../tags/tag83.xml"/><Relationship Id="rId135" Type="http://schemas.openxmlformats.org/officeDocument/2006/relationships/tags" Target="../tags/tag137.xml"/><Relationship Id="rId177" Type="http://schemas.openxmlformats.org/officeDocument/2006/relationships/tags" Target="../tags/tag179.xml"/><Relationship Id="rId342" Type="http://schemas.openxmlformats.org/officeDocument/2006/relationships/tags" Target="../tags/tag344.xml"/><Relationship Id="rId384" Type="http://schemas.openxmlformats.org/officeDocument/2006/relationships/tags" Target="../tags/tag386.xml"/><Relationship Id="rId591" Type="http://schemas.microsoft.com/office/2007/relationships/hdphoto" Target="../media/hdphoto4.wdp"/><Relationship Id="rId202" Type="http://schemas.openxmlformats.org/officeDocument/2006/relationships/tags" Target="../tags/tag204.xml"/><Relationship Id="rId244" Type="http://schemas.openxmlformats.org/officeDocument/2006/relationships/tags" Target="../tags/tag246.xml"/><Relationship Id="rId39" Type="http://schemas.openxmlformats.org/officeDocument/2006/relationships/tags" Target="../tags/tag41.xml"/><Relationship Id="rId286" Type="http://schemas.openxmlformats.org/officeDocument/2006/relationships/tags" Target="../tags/tag288.xml"/><Relationship Id="rId451" Type="http://schemas.openxmlformats.org/officeDocument/2006/relationships/tags" Target="../tags/tag453.xml"/><Relationship Id="rId493" Type="http://schemas.openxmlformats.org/officeDocument/2006/relationships/tags" Target="../tags/tag495.xml"/><Relationship Id="rId507" Type="http://schemas.openxmlformats.org/officeDocument/2006/relationships/tags" Target="../tags/tag509.xml"/><Relationship Id="rId549" Type="http://schemas.openxmlformats.org/officeDocument/2006/relationships/tags" Target="../tags/tag551.xml"/><Relationship Id="rId50" Type="http://schemas.openxmlformats.org/officeDocument/2006/relationships/tags" Target="../tags/tag52.xml"/><Relationship Id="rId104" Type="http://schemas.openxmlformats.org/officeDocument/2006/relationships/tags" Target="../tags/tag106.xml"/><Relationship Id="rId146" Type="http://schemas.openxmlformats.org/officeDocument/2006/relationships/tags" Target="../tags/tag148.xml"/><Relationship Id="rId188" Type="http://schemas.openxmlformats.org/officeDocument/2006/relationships/tags" Target="../tags/tag190.xml"/><Relationship Id="rId311" Type="http://schemas.openxmlformats.org/officeDocument/2006/relationships/tags" Target="../tags/tag313.xml"/><Relationship Id="rId353" Type="http://schemas.openxmlformats.org/officeDocument/2006/relationships/tags" Target="../tags/tag355.xml"/><Relationship Id="rId395" Type="http://schemas.openxmlformats.org/officeDocument/2006/relationships/tags" Target="../tags/tag397.xml"/><Relationship Id="rId409" Type="http://schemas.openxmlformats.org/officeDocument/2006/relationships/tags" Target="../tags/tag411.xml"/><Relationship Id="rId560" Type="http://schemas.openxmlformats.org/officeDocument/2006/relationships/tags" Target="../tags/tag562.xml"/><Relationship Id="rId92" Type="http://schemas.openxmlformats.org/officeDocument/2006/relationships/tags" Target="../tags/tag94.xml"/><Relationship Id="rId213" Type="http://schemas.openxmlformats.org/officeDocument/2006/relationships/tags" Target="../tags/tag215.xml"/><Relationship Id="rId420" Type="http://schemas.openxmlformats.org/officeDocument/2006/relationships/tags" Target="../tags/tag422.xml"/><Relationship Id="rId255" Type="http://schemas.openxmlformats.org/officeDocument/2006/relationships/tags" Target="../tags/tag257.xml"/><Relationship Id="rId297" Type="http://schemas.openxmlformats.org/officeDocument/2006/relationships/tags" Target="../tags/tag299.xml"/><Relationship Id="rId462" Type="http://schemas.openxmlformats.org/officeDocument/2006/relationships/tags" Target="../tags/tag464.xml"/><Relationship Id="rId518" Type="http://schemas.openxmlformats.org/officeDocument/2006/relationships/tags" Target="../tags/tag520.xml"/><Relationship Id="rId115" Type="http://schemas.openxmlformats.org/officeDocument/2006/relationships/tags" Target="../tags/tag117.xml"/><Relationship Id="rId157" Type="http://schemas.openxmlformats.org/officeDocument/2006/relationships/tags" Target="../tags/tag159.xml"/><Relationship Id="rId322" Type="http://schemas.openxmlformats.org/officeDocument/2006/relationships/tags" Target="../tags/tag324.xml"/><Relationship Id="rId364" Type="http://schemas.openxmlformats.org/officeDocument/2006/relationships/tags" Target="../tags/tag366.xml"/><Relationship Id="rId61" Type="http://schemas.openxmlformats.org/officeDocument/2006/relationships/tags" Target="../tags/tag63.xml"/><Relationship Id="rId199" Type="http://schemas.openxmlformats.org/officeDocument/2006/relationships/tags" Target="../tags/tag201.xml"/><Relationship Id="rId571" Type="http://schemas.openxmlformats.org/officeDocument/2006/relationships/notesSlide" Target="../notesSlides/notesSlide3.xml"/><Relationship Id="rId19" Type="http://schemas.openxmlformats.org/officeDocument/2006/relationships/tags" Target="../tags/tag21.xml"/><Relationship Id="rId224" Type="http://schemas.openxmlformats.org/officeDocument/2006/relationships/tags" Target="../tags/tag226.xml"/><Relationship Id="rId266" Type="http://schemas.openxmlformats.org/officeDocument/2006/relationships/tags" Target="../tags/tag268.xml"/><Relationship Id="rId431" Type="http://schemas.openxmlformats.org/officeDocument/2006/relationships/tags" Target="../tags/tag433.xml"/><Relationship Id="rId473" Type="http://schemas.openxmlformats.org/officeDocument/2006/relationships/tags" Target="../tags/tag475.xml"/><Relationship Id="rId529" Type="http://schemas.openxmlformats.org/officeDocument/2006/relationships/tags" Target="../tags/tag531.xml"/><Relationship Id="rId30" Type="http://schemas.openxmlformats.org/officeDocument/2006/relationships/tags" Target="../tags/tag32.xml"/><Relationship Id="rId126" Type="http://schemas.openxmlformats.org/officeDocument/2006/relationships/tags" Target="../tags/tag128.xml"/><Relationship Id="rId168" Type="http://schemas.openxmlformats.org/officeDocument/2006/relationships/tags" Target="../tags/tag170.xml"/><Relationship Id="rId333" Type="http://schemas.openxmlformats.org/officeDocument/2006/relationships/tags" Target="../tags/tag335.xml"/><Relationship Id="rId540" Type="http://schemas.openxmlformats.org/officeDocument/2006/relationships/tags" Target="../tags/tag542.xml"/><Relationship Id="rId72" Type="http://schemas.openxmlformats.org/officeDocument/2006/relationships/tags" Target="../tags/tag74.xml"/><Relationship Id="rId375" Type="http://schemas.openxmlformats.org/officeDocument/2006/relationships/tags" Target="../tags/tag377.xml"/><Relationship Id="rId582" Type="http://schemas.microsoft.com/office/2007/relationships/hdphoto" Target="../media/hdphoto1.wdp"/><Relationship Id="rId3" Type="http://schemas.openxmlformats.org/officeDocument/2006/relationships/tags" Target="../tags/tag5.xml"/><Relationship Id="rId235" Type="http://schemas.openxmlformats.org/officeDocument/2006/relationships/tags" Target="../tags/tag237.xml"/><Relationship Id="rId277" Type="http://schemas.openxmlformats.org/officeDocument/2006/relationships/tags" Target="../tags/tag279.xml"/><Relationship Id="rId400" Type="http://schemas.openxmlformats.org/officeDocument/2006/relationships/tags" Target="../tags/tag402.xml"/><Relationship Id="rId442" Type="http://schemas.openxmlformats.org/officeDocument/2006/relationships/tags" Target="../tags/tag444.xml"/><Relationship Id="rId484" Type="http://schemas.openxmlformats.org/officeDocument/2006/relationships/tags" Target="../tags/tag486.xml"/><Relationship Id="rId137" Type="http://schemas.openxmlformats.org/officeDocument/2006/relationships/tags" Target="../tags/tag139.xml"/><Relationship Id="rId302" Type="http://schemas.openxmlformats.org/officeDocument/2006/relationships/tags" Target="../tags/tag304.xml"/><Relationship Id="rId344" Type="http://schemas.openxmlformats.org/officeDocument/2006/relationships/tags" Target="../tags/tag346.xml"/><Relationship Id="rId41" Type="http://schemas.openxmlformats.org/officeDocument/2006/relationships/tags" Target="../tags/tag43.xml"/><Relationship Id="rId83" Type="http://schemas.openxmlformats.org/officeDocument/2006/relationships/tags" Target="../tags/tag85.xml"/><Relationship Id="rId179" Type="http://schemas.openxmlformats.org/officeDocument/2006/relationships/tags" Target="../tags/tag181.xml"/><Relationship Id="rId386" Type="http://schemas.openxmlformats.org/officeDocument/2006/relationships/tags" Target="../tags/tag388.xml"/><Relationship Id="rId551" Type="http://schemas.openxmlformats.org/officeDocument/2006/relationships/tags" Target="../tags/tag553.xml"/><Relationship Id="rId593" Type="http://schemas.openxmlformats.org/officeDocument/2006/relationships/image" Target="../media/image21.wmf"/><Relationship Id="rId190" Type="http://schemas.openxmlformats.org/officeDocument/2006/relationships/tags" Target="../tags/tag192.xml"/><Relationship Id="rId204" Type="http://schemas.openxmlformats.org/officeDocument/2006/relationships/tags" Target="../tags/tag206.xml"/><Relationship Id="rId246" Type="http://schemas.openxmlformats.org/officeDocument/2006/relationships/tags" Target="../tags/tag248.xml"/><Relationship Id="rId288" Type="http://schemas.openxmlformats.org/officeDocument/2006/relationships/tags" Target="../tags/tag290.xml"/><Relationship Id="rId411" Type="http://schemas.openxmlformats.org/officeDocument/2006/relationships/tags" Target="../tags/tag413.xml"/><Relationship Id="rId453" Type="http://schemas.openxmlformats.org/officeDocument/2006/relationships/tags" Target="../tags/tag455.xml"/><Relationship Id="rId509" Type="http://schemas.openxmlformats.org/officeDocument/2006/relationships/tags" Target="../tags/tag511.xml"/><Relationship Id="rId106" Type="http://schemas.openxmlformats.org/officeDocument/2006/relationships/tags" Target="../tags/tag108.xml"/><Relationship Id="rId313" Type="http://schemas.openxmlformats.org/officeDocument/2006/relationships/tags" Target="../tags/tag315.xml"/><Relationship Id="rId495" Type="http://schemas.openxmlformats.org/officeDocument/2006/relationships/tags" Target="../tags/tag497.xml"/><Relationship Id="rId10" Type="http://schemas.openxmlformats.org/officeDocument/2006/relationships/tags" Target="../tags/tag12.xml"/><Relationship Id="rId52" Type="http://schemas.openxmlformats.org/officeDocument/2006/relationships/tags" Target="../tags/tag54.xml"/><Relationship Id="rId94" Type="http://schemas.openxmlformats.org/officeDocument/2006/relationships/tags" Target="../tags/tag96.xml"/><Relationship Id="rId148" Type="http://schemas.openxmlformats.org/officeDocument/2006/relationships/tags" Target="../tags/tag150.xml"/><Relationship Id="rId355" Type="http://schemas.openxmlformats.org/officeDocument/2006/relationships/tags" Target="../tags/tag357.xml"/><Relationship Id="rId397" Type="http://schemas.openxmlformats.org/officeDocument/2006/relationships/tags" Target="../tags/tag399.xml"/><Relationship Id="rId520" Type="http://schemas.openxmlformats.org/officeDocument/2006/relationships/tags" Target="../tags/tag522.xml"/><Relationship Id="rId562" Type="http://schemas.openxmlformats.org/officeDocument/2006/relationships/tags" Target="../tags/tag564.xml"/><Relationship Id="rId215" Type="http://schemas.openxmlformats.org/officeDocument/2006/relationships/tags" Target="../tags/tag217.xml"/><Relationship Id="rId257" Type="http://schemas.openxmlformats.org/officeDocument/2006/relationships/tags" Target="../tags/tag259.xml"/><Relationship Id="rId422" Type="http://schemas.openxmlformats.org/officeDocument/2006/relationships/tags" Target="../tags/tag424.xml"/><Relationship Id="rId464" Type="http://schemas.openxmlformats.org/officeDocument/2006/relationships/tags" Target="../tags/tag466.xml"/><Relationship Id="rId299" Type="http://schemas.openxmlformats.org/officeDocument/2006/relationships/tags" Target="../tags/tag301.xml"/><Relationship Id="rId63" Type="http://schemas.openxmlformats.org/officeDocument/2006/relationships/tags" Target="../tags/tag65.xml"/><Relationship Id="rId159" Type="http://schemas.openxmlformats.org/officeDocument/2006/relationships/tags" Target="../tags/tag161.xml"/><Relationship Id="rId366" Type="http://schemas.openxmlformats.org/officeDocument/2006/relationships/tags" Target="../tags/tag368.xml"/><Relationship Id="rId573" Type="http://schemas.openxmlformats.org/officeDocument/2006/relationships/image" Target="../media/image5.emf"/><Relationship Id="rId226" Type="http://schemas.openxmlformats.org/officeDocument/2006/relationships/tags" Target="../tags/tag228.xml"/><Relationship Id="rId433" Type="http://schemas.openxmlformats.org/officeDocument/2006/relationships/tags" Target="../tags/tag435.xml"/><Relationship Id="rId74" Type="http://schemas.openxmlformats.org/officeDocument/2006/relationships/tags" Target="../tags/tag76.xml"/><Relationship Id="rId377" Type="http://schemas.openxmlformats.org/officeDocument/2006/relationships/tags" Target="../tags/tag379.xml"/><Relationship Id="rId500" Type="http://schemas.openxmlformats.org/officeDocument/2006/relationships/tags" Target="../tags/tag502.xml"/><Relationship Id="rId584" Type="http://schemas.microsoft.com/office/2007/relationships/hdphoto" Target="../media/hdphoto2.wdp"/><Relationship Id="rId5" Type="http://schemas.openxmlformats.org/officeDocument/2006/relationships/tags" Target="../tags/tag7.xml"/><Relationship Id="rId237" Type="http://schemas.openxmlformats.org/officeDocument/2006/relationships/tags" Target="../tags/tag239.xml"/><Relationship Id="rId444" Type="http://schemas.openxmlformats.org/officeDocument/2006/relationships/tags" Target="../tags/tag446.xml"/><Relationship Id="rId290" Type="http://schemas.openxmlformats.org/officeDocument/2006/relationships/tags" Target="../tags/tag292.xml"/><Relationship Id="rId304" Type="http://schemas.openxmlformats.org/officeDocument/2006/relationships/tags" Target="../tags/tag306.xml"/><Relationship Id="rId388" Type="http://schemas.openxmlformats.org/officeDocument/2006/relationships/tags" Target="../tags/tag390.xml"/><Relationship Id="rId511" Type="http://schemas.openxmlformats.org/officeDocument/2006/relationships/tags" Target="../tags/tag513.xml"/><Relationship Id="rId85" Type="http://schemas.openxmlformats.org/officeDocument/2006/relationships/tags" Target="../tags/tag87.xml"/><Relationship Id="rId150" Type="http://schemas.openxmlformats.org/officeDocument/2006/relationships/tags" Target="../tags/tag152.xml"/><Relationship Id="rId595" Type="http://schemas.microsoft.com/office/2007/relationships/hdphoto" Target="../media/hdphoto5.wdp"/><Relationship Id="rId248" Type="http://schemas.openxmlformats.org/officeDocument/2006/relationships/tags" Target="../tags/tag250.xml"/><Relationship Id="rId455" Type="http://schemas.openxmlformats.org/officeDocument/2006/relationships/tags" Target="../tags/tag457.xml"/><Relationship Id="rId12" Type="http://schemas.openxmlformats.org/officeDocument/2006/relationships/tags" Target="../tags/tag14.xml"/><Relationship Id="rId108" Type="http://schemas.openxmlformats.org/officeDocument/2006/relationships/tags" Target="../tags/tag110.xml"/><Relationship Id="rId315" Type="http://schemas.openxmlformats.org/officeDocument/2006/relationships/tags" Target="../tags/tag317.xml"/><Relationship Id="rId522" Type="http://schemas.openxmlformats.org/officeDocument/2006/relationships/tags" Target="../tags/tag524.xml"/><Relationship Id="rId96" Type="http://schemas.openxmlformats.org/officeDocument/2006/relationships/tags" Target="../tags/tag98.xml"/><Relationship Id="rId161" Type="http://schemas.openxmlformats.org/officeDocument/2006/relationships/tags" Target="../tags/tag163.xml"/><Relationship Id="rId399" Type="http://schemas.openxmlformats.org/officeDocument/2006/relationships/tags" Target="../tags/tag401.xml"/><Relationship Id="rId259" Type="http://schemas.openxmlformats.org/officeDocument/2006/relationships/tags" Target="../tags/tag261.xml"/><Relationship Id="rId466" Type="http://schemas.openxmlformats.org/officeDocument/2006/relationships/tags" Target="../tags/tag468.xml"/><Relationship Id="rId23" Type="http://schemas.openxmlformats.org/officeDocument/2006/relationships/tags" Target="../tags/tag25.xml"/><Relationship Id="rId119" Type="http://schemas.openxmlformats.org/officeDocument/2006/relationships/tags" Target="../tags/tag121.xml"/><Relationship Id="rId326" Type="http://schemas.openxmlformats.org/officeDocument/2006/relationships/tags" Target="../tags/tag328.xml"/><Relationship Id="rId533" Type="http://schemas.openxmlformats.org/officeDocument/2006/relationships/tags" Target="../tags/tag535.xml"/><Relationship Id="rId172" Type="http://schemas.openxmlformats.org/officeDocument/2006/relationships/tags" Target="../tags/tag174.xml"/><Relationship Id="rId477" Type="http://schemas.openxmlformats.org/officeDocument/2006/relationships/tags" Target="../tags/tag479.xml"/><Relationship Id="rId337" Type="http://schemas.openxmlformats.org/officeDocument/2006/relationships/tags" Target="../tags/tag339.xml"/><Relationship Id="rId34" Type="http://schemas.openxmlformats.org/officeDocument/2006/relationships/tags" Target="../tags/tag36.xml"/><Relationship Id="rId544" Type="http://schemas.openxmlformats.org/officeDocument/2006/relationships/tags" Target="../tags/tag546.xml"/><Relationship Id="rId183" Type="http://schemas.openxmlformats.org/officeDocument/2006/relationships/tags" Target="../tags/tag185.xml"/><Relationship Id="rId390" Type="http://schemas.openxmlformats.org/officeDocument/2006/relationships/tags" Target="../tags/tag392.xml"/><Relationship Id="rId404" Type="http://schemas.openxmlformats.org/officeDocument/2006/relationships/tags" Target="../tags/tag406.xml"/><Relationship Id="rId250" Type="http://schemas.openxmlformats.org/officeDocument/2006/relationships/tags" Target="../tags/tag252.xml"/><Relationship Id="rId488" Type="http://schemas.openxmlformats.org/officeDocument/2006/relationships/tags" Target="../tags/tag490.xml"/><Relationship Id="rId45" Type="http://schemas.openxmlformats.org/officeDocument/2006/relationships/tags" Target="../tags/tag47.xml"/><Relationship Id="rId110" Type="http://schemas.openxmlformats.org/officeDocument/2006/relationships/tags" Target="../tags/tag112.xml"/><Relationship Id="rId348" Type="http://schemas.openxmlformats.org/officeDocument/2006/relationships/tags" Target="../tags/tag350.xml"/><Relationship Id="rId555" Type="http://schemas.openxmlformats.org/officeDocument/2006/relationships/tags" Target="../tags/tag557.xml"/><Relationship Id="rId194" Type="http://schemas.openxmlformats.org/officeDocument/2006/relationships/tags" Target="../tags/tag196.xml"/><Relationship Id="rId208" Type="http://schemas.openxmlformats.org/officeDocument/2006/relationships/tags" Target="../tags/tag210.xml"/><Relationship Id="rId415" Type="http://schemas.openxmlformats.org/officeDocument/2006/relationships/tags" Target="../tags/tag417.xml"/></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chart" Target="../charts/chart4.xml"/><Relationship Id="rId7" Type="http://schemas.openxmlformats.org/officeDocument/2006/relationships/image" Target="../media/image31.JP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chart" Target="../charts/chart6.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google.dk/url?sa=i&amp;rct=j&amp;q=&amp;esrc=s&amp;source=images&amp;cd=&amp;ved=2ahUKEwi2peH7nd_bAhVF_iwKHerCAjQQjRx6BAgBEAU&amp;url=https://www.yellowpages.com.au/nsw/maitland/kinda-kapers-15024531-listing.html&amp;psig=AOvVaw2nBpjoeGNbRRRZtKicoEEK&amp;ust=1529480752122297"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193" y="-63286"/>
            <a:ext cx="12295323" cy="6984571"/>
          </a:xfrm>
          <a:prstGeom prst="rect">
            <a:avLst/>
          </a:prstGeom>
        </p:spPr>
      </p:pic>
      <p:sp>
        <p:nvSpPr>
          <p:cNvPr id="4" name="Title 1"/>
          <p:cNvSpPr txBox="1">
            <a:spLocks/>
          </p:cNvSpPr>
          <p:nvPr/>
        </p:nvSpPr>
        <p:spPr>
          <a:xfrm>
            <a:off x="529343" y="3904988"/>
            <a:ext cx="10081337" cy="1034127"/>
          </a:xfrm>
          <a:prstGeom prst="rect">
            <a:avLst/>
          </a:prstGeom>
        </p:spPr>
        <p:txBody>
          <a:bodyPr lIns="0" tIns="0" rIns="0" bIns="0"/>
          <a:lstStyle>
            <a:lvl1pPr algn="l" defTabSz="685800" rtl="0" eaLnBrk="1" latinLnBrk="0" hangingPunct="1">
              <a:lnSpc>
                <a:spcPct val="90000"/>
              </a:lnSpc>
              <a:spcBef>
                <a:spcPct val="0"/>
              </a:spcBef>
              <a:buNone/>
              <a:defRPr sz="3400" kern="1200">
                <a:solidFill>
                  <a:srgbClr val="0099FF"/>
                </a:solidFill>
                <a:latin typeface="+mj-lt"/>
                <a:ea typeface="+mj-ea"/>
                <a:cs typeface="+mj-cs"/>
              </a:defRPr>
            </a:lvl1pPr>
          </a:lstStyle>
          <a:p>
            <a:r>
              <a:rPr lang="fr-CH" sz="1867" b="1" i="1" dirty="0">
                <a:solidFill>
                  <a:schemeClr val="bg1"/>
                </a:solidFill>
                <a:latin typeface="Arial" charset="0"/>
                <a:ea typeface="Arial" charset="0"/>
                <a:cs typeface="Arial" charset="0"/>
              </a:rPr>
              <a:t> </a:t>
            </a:r>
          </a:p>
          <a:p>
            <a:endParaRPr lang="fr-CH" sz="3200" b="1" dirty="0">
              <a:solidFill>
                <a:schemeClr val="bg1"/>
              </a:solidFill>
              <a:latin typeface="Arial" charset="0"/>
              <a:ea typeface="Arial" charset="0"/>
              <a:cs typeface="Arial" charset="0"/>
            </a:endParaRPr>
          </a:p>
          <a:p>
            <a:endParaRPr lang="fr-CH" sz="3200" b="1" dirty="0">
              <a:solidFill>
                <a:schemeClr val="bg1"/>
              </a:solidFill>
              <a:latin typeface="Arial" charset="0"/>
              <a:ea typeface="Arial" charset="0"/>
              <a:cs typeface="Arial" charset="0"/>
            </a:endParaRPr>
          </a:p>
          <a:p>
            <a:r>
              <a:rPr lang="fr-CH" sz="3200" b="1" dirty="0">
                <a:solidFill>
                  <a:schemeClr val="bg1"/>
                </a:solidFill>
                <a:latin typeface="Arial" charset="0"/>
                <a:ea typeface="Arial" charset="0"/>
                <a:cs typeface="Arial" charset="0"/>
              </a:rPr>
              <a:t>Promoting vaccination demand</a:t>
            </a:r>
          </a:p>
          <a:p>
            <a:r>
              <a:rPr lang="fr-CH" sz="2000" i="1" dirty="0">
                <a:solidFill>
                  <a:schemeClr val="bg1"/>
                </a:solidFill>
                <a:latin typeface="Arial" charset="0"/>
                <a:ea typeface="Arial" charset="0"/>
                <a:cs typeface="Arial" charset="0"/>
              </a:rPr>
              <a:t>M&amp;RI Partners Meeting, Sept 12</a:t>
            </a:r>
          </a:p>
          <a:p>
            <a:endParaRPr lang="fr-CH" sz="2000" b="1" dirty="0">
              <a:solidFill>
                <a:schemeClr val="bg1"/>
              </a:solidFill>
              <a:latin typeface="Arial" charset="0"/>
              <a:ea typeface="Arial" charset="0"/>
              <a:cs typeface="Arial" charset="0"/>
            </a:endParaRPr>
          </a:p>
          <a:p>
            <a:r>
              <a:rPr lang="fr-CH" sz="2000" b="1" dirty="0">
                <a:solidFill>
                  <a:schemeClr val="bg1"/>
                </a:solidFill>
                <a:latin typeface="Arial" charset="0"/>
                <a:ea typeface="Arial" charset="0"/>
                <a:cs typeface="Arial" charset="0"/>
              </a:rPr>
              <a:t>Robb Butler   @RobbButler2</a:t>
            </a:r>
            <a:endParaRPr lang="en-US" sz="2000" b="1" dirty="0">
              <a:solidFill>
                <a:schemeClr val="bg1"/>
              </a:solidFill>
              <a:latin typeface="Arial" charset="0"/>
              <a:ea typeface="Arial" charset="0"/>
              <a:cs typeface="Arial" charset="0"/>
            </a:endParaRPr>
          </a:p>
        </p:txBody>
      </p:sp>
      <p:sp>
        <p:nvSpPr>
          <p:cNvPr id="5" name="Subtitle 2"/>
          <p:cNvSpPr txBox="1">
            <a:spLocks/>
          </p:cNvSpPr>
          <p:nvPr/>
        </p:nvSpPr>
        <p:spPr>
          <a:xfrm>
            <a:off x="518526" y="6491930"/>
            <a:ext cx="5181471" cy="41416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sz="1600" kern="1200">
                <a:solidFill>
                  <a:srgbClr val="0099FF"/>
                </a:solidFill>
                <a:latin typeface="+mn-lt"/>
                <a:ea typeface="+mn-ea"/>
                <a:cs typeface="+mn-cs"/>
              </a:defRPr>
            </a:lvl1pPr>
            <a:lvl2pPr marL="457200" indent="0" algn="ctr" defTabSz="685800"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685800" rtl="0" eaLnBrk="1" latinLnBrk="0" hangingPunct="1">
              <a:lnSpc>
                <a:spcPct val="90000"/>
              </a:lnSpc>
              <a:spcBef>
                <a:spcPts val="375"/>
              </a:spcBef>
              <a:buFont typeface="Arial" panose="020B0604020202020204" pitchFamily="34" charset="0"/>
              <a:buNone/>
              <a:defRPr sz="1500" kern="1200">
                <a:solidFill>
                  <a:schemeClr val="tx1">
                    <a:tint val="75000"/>
                  </a:schemeClr>
                </a:solidFill>
                <a:latin typeface="+mn-lt"/>
                <a:ea typeface="+mn-ea"/>
                <a:cs typeface="+mn-cs"/>
              </a:defRPr>
            </a:lvl3pPr>
            <a:lvl4pPr marL="13716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4pPr>
            <a:lvl5pPr marL="18288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mn-lt"/>
                <a:ea typeface="+mn-ea"/>
                <a:cs typeface="+mn-cs"/>
              </a:defRPr>
            </a:lvl9pPr>
          </a:lstStyle>
          <a:p>
            <a:endParaRPr lang="en-US" sz="2133" dirty="0">
              <a:solidFill>
                <a:schemeClr val="bg1"/>
              </a:solidFill>
              <a:latin typeface="Arial" charset="0"/>
              <a:ea typeface="Arial" charset="0"/>
              <a:cs typeface="Arial" charset="0"/>
            </a:endParaRPr>
          </a:p>
        </p:txBody>
      </p:sp>
      <p:sp>
        <p:nvSpPr>
          <p:cNvPr id="6" name="Content Placeholder 2"/>
          <p:cNvSpPr txBox="1">
            <a:spLocks/>
          </p:cNvSpPr>
          <p:nvPr/>
        </p:nvSpPr>
        <p:spPr>
          <a:xfrm>
            <a:off x="529343" y="6507288"/>
            <a:ext cx="6526764" cy="473081"/>
          </a:xfrm>
          <a:prstGeom prst="rect">
            <a:avLst/>
          </a:prstGeom>
        </p:spPr>
        <p:txBody>
          <a:bodyPr vert="horz" lIns="0" tIns="0" rIns="0" bIns="0" rtlCol="0" anchor="ctr"/>
          <a:lstStyle>
            <a:defPPr>
              <a:defRPr lang="en-US"/>
            </a:defPPr>
            <a:lvl1pPr marL="0" indent="0" algn="l" defTabSz="685800" rtl="0" eaLnBrk="1" latinLnBrk="0" hangingPunct="1">
              <a:buNone/>
              <a:defRPr sz="1800" kern="1200">
                <a:solidFill>
                  <a:srgbClr val="FFFFFF"/>
                </a:solidFill>
                <a:latin typeface="+mn-lt"/>
                <a:ea typeface="+mn-ea"/>
                <a:cs typeface="+mn-cs"/>
              </a:defRPr>
            </a:lvl1pPr>
            <a:lvl2pPr marL="342900" algn="l" defTabSz="685800" rtl="0" eaLnBrk="1" latinLnBrk="0" hangingPunct="1">
              <a:defRPr sz="2400" kern="1200">
                <a:solidFill>
                  <a:schemeClr val="tx1"/>
                </a:solidFill>
                <a:latin typeface="+mn-lt"/>
                <a:ea typeface="+mn-ea"/>
                <a:cs typeface="+mn-cs"/>
              </a:defRPr>
            </a:lvl2pPr>
            <a:lvl3pPr marL="685800" algn="l" defTabSz="685800" rtl="0" eaLnBrk="1" latinLnBrk="0" hangingPunct="1">
              <a:defRPr sz="2400" kern="1200">
                <a:solidFill>
                  <a:schemeClr val="tx1"/>
                </a:solidFill>
                <a:latin typeface="+mn-lt"/>
                <a:ea typeface="+mn-ea"/>
                <a:cs typeface="+mn-cs"/>
              </a:defRPr>
            </a:lvl3pPr>
            <a:lvl4pPr marL="1028700" algn="l" defTabSz="685800" rtl="0" eaLnBrk="1" latinLnBrk="0" hangingPunct="1">
              <a:defRPr sz="2400" kern="1200">
                <a:solidFill>
                  <a:schemeClr val="tx1"/>
                </a:solidFill>
                <a:latin typeface="+mn-lt"/>
                <a:ea typeface="+mn-ea"/>
                <a:cs typeface="+mn-cs"/>
              </a:defRPr>
            </a:lvl4pPr>
            <a:lvl5pPr marL="1371600" algn="l" defTabSz="685800" rtl="0" eaLnBrk="1" latinLnBrk="0" hangingPunct="1">
              <a:defRPr sz="240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fr-CH" sz="1867" dirty="0">
              <a:latin typeface="Arial" charset="0"/>
              <a:ea typeface="Arial" charset="0"/>
              <a:cs typeface="Arial" charset="0"/>
            </a:endParaRPr>
          </a:p>
        </p:txBody>
      </p:sp>
      <p:sp>
        <p:nvSpPr>
          <p:cNvPr id="7" name="Rectangle 6"/>
          <p:cNvSpPr/>
          <p:nvPr/>
        </p:nvSpPr>
        <p:spPr>
          <a:xfrm>
            <a:off x="10201917" y="6570742"/>
            <a:ext cx="1990083" cy="256545"/>
          </a:xfrm>
          <a:prstGeom prst="rect">
            <a:avLst/>
          </a:prstGeom>
        </p:spPr>
        <p:txBody>
          <a:bodyPr wrap="square">
            <a:spAutoFit/>
          </a:bodyPr>
          <a:lstStyle/>
          <a:p>
            <a:pPr algn="r"/>
            <a:r>
              <a:rPr lang="en-US" sz="1067" dirty="0">
                <a:solidFill>
                  <a:schemeClr val="bg1"/>
                </a:solidFill>
              </a:rPr>
              <a:t>© UNICEF/UN074437/</a:t>
            </a:r>
            <a:r>
              <a:rPr lang="en-US" sz="1067" dirty="0" err="1">
                <a:solidFill>
                  <a:schemeClr val="bg1"/>
                </a:solidFill>
              </a:rPr>
              <a:t>omino</a:t>
            </a:r>
            <a:endParaRPr lang="en-US" sz="1067" dirty="0">
              <a:solidFill>
                <a:schemeClr val="bg1"/>
              </a:solidFill>
            </a:endParaRPr>
          </a:p>
        </p:txBody>
      </p:sp>
    </p:spTree>
    <p:extLst>
      <p:ext uri="{BB962C8B-B14F-4D97-AF65-F5344CB8AC3E}">
        <p14:creationId xmlns:p14="http://schemas.microsoft.com/office/powerpoint/2010/main" val="524095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normAutofit/>
          </a:bodyPr>
          <a:lstStyle/>
          <a:p>
            <a:pPr fontAlgn="base" hangingPunct="0"/>
            <a:r>
              <a:rPr lang="en-US" sz="3200" dirty="0"/>
              <a:t>Australia, NSW </a:t>
            </a:r>
          </a:p>
        </p:txBody>
      </p:sp>
      <p:sp>
        <p:nvSpPr>
          <p:cNvPr id="3" name="Content Placeholder 2">
            <a:extLst>
              <a:ext uri="{FF2B5EF4-FFF2-40B4-BE49-F238E27FC236}">
                <a16:creationId xmlns:a16="http://schemas.microsoft.com/office/drawing/2014/main" id="{045F831A-8FBB-4EAC-90EB-B25517A0FA19}"/>
              </a:ext>
            </a:extLst>
          </p:cNvPr>
          <p:cNvSpPr>
            <a:spLocks noGrp="1"/>
          </p:cNvSpPr>
          <p:nvPr>
            <p:ph idx="1"/>
          </p:nvPr>
        </p:nvSpPr>
        <p:spPr>
          <a:xfrm>
            <a:off x="514905" y="1087590"/>
            <a:ext cx="11381173" cy="5952661"/>
          </a:xfrm>
        </p:spPr>
        <p:txBody>
          <a:bodyPr>
            <a:noAutofit/>
          </a:bodyPr>
          <a:lstStyle/>
          <a:p>
            <a:pPr marL="0" indent="0">
              <a:buNone/>
            </a:pPr>
            <a:r>
              <a:rPr lang="da-DK" sz="2400" dirty="0"/>
              <a:t>Reasons for low </a:t>
            </a:r>
            <a:r>
              <a:rPr lang="da-DK" sz="2400" dirty="0" err="1"/>
              <a:t>uptake</a:t>
            </a:r>
            <a:r>
              <a:rPr lang="da-DK" sz="2400" dirty="0"/>
              <a:t>: (NSW Health &amp; WHO/EURO, TIP 2016-17)</a:t>
            </a:r>
          </a:p>
          <a:p>
            <a:pPr marL="228594" indent="-228594"/>
            <a:r>
              <a:rPr lang="da-DK" sz="2400" dirty="0" err="1"/>
              <a:t>Parents</a:t>
            </a:r>
            <a:r>
              <a:rPr lang="da-DK" sz="2400" dirty="0"/>
              <a:t> </a:t>
            </a:r>
            <a:r>
              <a:rPr lang="da-DK" sz="2400" dirty="0" err="1"/>
              <a:t>were</a:t>
            </a:r>
            <a:r>
              <a:rPr lang="da-DK" sz="2400" dirty="0"/>
              <a:t> not </a:t>
            </a:r>
            <a:r>
              <a:rPr lang="da-DK" sz="2400" dirty="0" err="1"/>
              <a:t>opposed</a:t>
            </a:r>
            <a:r>
              <a:rPr lang="da-DK" sz="2400" dirty="0"/>
              <a:t> to </a:t>
            </a:r>
            <a:r>
              <a:rPr lang="da-DK" sz="2400" dirty="0" err="1"/>
              <a:t>immunization</a:t>
            </a:r>
            <a:r>
              <a:rPr lang="da-DK" sz="2400" dirty="0"/>
              <a:t> or ‘</a:t>
            </a:r>
            <a:r>
              <a:rPr lang="da-DK" sz="2400" dirty="0" err="1"/>
              <a:t>hesitant</a:t>
            </a:r>
            <a:r>
              <a:rPr lang="da-DK" sz="2400" dirty="0"/>
              <a:t>’</a:t>
            </a:r>
          </a:p>
          <a:p>
            <a:pPr marL="228594" indent="-228594"/>
            <a:r>
              <a:rPr lang="da-DK" sz="2400" dirty="0" err="1"/>
              <a:t>Parents</a:t>
            </a:r>
            <a:r>
              <a:rPr lang="da-DK" sz="2400" dirty="0"/>
              <a:t> </a:t>
            </a:r>
            <a:r>
              <a:rPr lang="da-DK" sz="2400" dirty="0" err="1"/>
              <a:t>experienced</a:t>
            </a:r>
            <a:r>
              <a:rPr lang="da-DK" sz="2400" dirty="0"/>
              <a:t> </a:t>
            </a:r>
            <a:r>
              <a:rPr lang="da-DK" sz="2400" dirty="0" err="1"/>
              <a:t>socio-economic</a:t>
            </a:r>
            <a:r>
              <a:rPr lang="da-DK" sz="2400" dirty="0"/>
              <a:t> </a:t>
            </a:r>
            <a:r>
              <a:rPr lang="da-DK" sz="2400" dirty="0" err="1"/>
              <a:t>disadvantage</a:t>
            </a:r>
            <a:r>
              <a:rPr lang="da-DK" sz="2400" dirty="0"/>
              <a:t>, </a:t>
            </a:r>
            <a:r>
              <a:rPr lang="da-DK" sz="2400" dirty="0" err="1"/>
              <a:t>poor</a:t>
            </a:r>
            <a:r>
              <a:rPr lang="da-DK" sz="2400" dirty="0"/>
              <a:t> mental </a:t>
            </a:r>
            <a:r>
              <a:rPr lang="da-DK" sz="2400" dirty="0" err="1"/>
              <a:t>health</a:t>
            </a:r>
            <a:r>
              <a:rPr lang="da-DK" sz="2400" dirty="0"/>
              <a:t>, </a:t>
            </a:r>
            <a:r>
              <a:rPr lang="da-DK" sz="2400" dirty="0" err="1"/>
              <a:t>addiction</a:t>
            </a:r>
            <a:r>
              <a:rPr lang="da-DK" sz="2400" dirty="0"/>
              <a:t>, </a:t>
            </a:r>
            <a:r>
              <a:rPr lang="da-DK" sz="2400" dirty="0" err="1"/>
              <a:t>poverty</a:t>
            </a:r>
            <a:r>
              <a:rPr lang="da-DK" sz="2400" dirty="0"/>
              <a:t>, </a:t>
            </a:r>
            <a:r>
              <a:rPr lang="da-DK" sz="2400" dirty="0" err="1"/>
              <a:t>homelessness</a:t>
            </a:r>
            <a:r>
              <a:rPr lang="da-DK" sz="2400" dirty="0"/>
              <a:t> and </a:t>
            </a:r>
            <a:r>
              <a:rPr lang="da-DK" sz="2400" dirty="0" err="1"/>
              <a:t>domestic</a:t>
            </a:r>
            <a:r>
              <a:rPr lang="da-DK" sz="2400" dirty="0"/>
              <a:t> </a:t>
            </a:r>
            <a:r>
              <a:rPr lang="da-DK" sz="2400" dirty="0" err="1"/>
              <a:t>violence</a:t>
            </a:r>
            <a:endParaRPr lang="da-DK" sz="2400" dirty="0"/>
          </a:p>
          <a:p>
            <a:pPr marL="228594" indent="-228594"/>
            <a:r>
              <a:rPr lang="da-DK" sz="2400" dirty="0" err="1"/>
              <a:t>Some</a:t>
            </a:r>
            <a:r>
              <a:rPr lang="da-DK" sz="2400" dirty="0"/>
              <a:t> </a:t>
            </a:r>
            <a:r>
              <a:rPr lang="da-DK" sz="2400" dirty="0" err="1"/>
              <a:t>parents</a:t>
            </a:r>
            <a:r>
              <a:rPr lang="da-DK" sz="2400" dirty="0"/>
              <a:t> </a:t>
            </a:r>
            <a:r>
              <a:rPr lang="da-DK" sz="2400" dirty="0" err="1"/>
              <a:t>didn’t</a:t>
            </a:r>
            <a:r>
              <a:rPr lang="da-DK" sz="2400" dirty="0"/>
              <a:t> trust </a:t>
            </a:r>
            <a:r>
              <a:rPr lang="da-DK" sz="2400" dirty="0" err="1"/>
              <a:t>health</a:t>
            </a:r>
            <a:r>
              <a:rPr lang="da-DK" sz="2400" dirty="0"/>
              <a:t> services and </a:t>
            </a:r>
            <a:r>
              <a:rPr lang="da-DK" sz="2400" dirty="0" err="1"/>
              <a:t>rarely</a:t>
            </a:r>
            <a:r>
              <a:rPr lang="da-DK" sz="2400" dirty="0"/>
              <a:t> </a:t>
            </a:r>
            <a:r>
              <a:rPr lang="da-DK" sz="2400" dirty="0" err="1"/>
              <a:t>used</a:t>
            </a:r>
            <a:r>
              <a:rPr lang="da-DK" sz="2400" dirty="0"/>
              <a:t> </a:t>
            </a:r>
            <a:r>
              <a:rPr lang="da-DK" sz="2400" dirty="0" err="1"/>
              <a:t>them</a:t>
            </a:r>
            <a:endParaRPr lang="da-DK" sz="2400" dirty="0"/>
          </a:p>
          <a:p>
            <a:pPr marL="228594" indent="-228594"/>
            <a:r>
              <a:rPr lang="da-DK" sz="2400" dirty="0" err="1"/>
              <a:t>Some</a:t>
            </a:r>
            <a:r>
              <a:rPr lang="da-DK" sz="2400" dirty="0"/>
              <a:t> </a:t>
            </a:r>
            <a:r>
              <a:rPr lang="da-DK" sz="2400" dirty="0" err="1"/>
              <a:t>parents</a:t>
            </a:r>
            <a:r>
              <a:rPr lang="da-DK" sz="2400" dirty="0"/>
              <a:t> </a:t>
            </a:r>
            <a:r>
              <a:rPr lang="da-DK" sz="2400" dirty="0" err="1"/>
              <a:t>experienced</a:t>
            </a:r>
            <a:r>
              <a:rPr lang="da-DK" sz="2400" dirty="0"/>
              <a:t> service </a:t>
            </a:r>
            <a:r>
              <a:rPr lang="da-DK" sz="2400" dirty="0" err="1"/>
              <a:t>access</a:t>
            </a:r>
            <a:r>
              <a:rPr lang="da-DK" sz="2400" dirty="0"/>
              <a:t> </a:t>
            </a:r>
            <a:r>
              <a:rPr lang="da-DK" sz="2400" dirty="0" err="1"/>
              <a:t>barriers</a:t>
            </a:r>
            <a:r>
              <a:rPr lang="da-DK" sz="2400" dirty="0"/>
              <a:t> (</a:t>
            </a:r>
            <a:r>
              <a:rPr lang="da-DK" sz="2400" dirty="0" err="1"/>
              <a:t>cost</a:t>
            </a:r>
            <a:r>
              <a:rPr lang="da-DK" sz="2400" dirty="0"/>
              <a:t>, location, </a:t>
            </a:r>
            <a:r>
              <a:rPr lang="da-DK" sz="2400" dirty="0" err="1"/>
              <a:t>transportation</a:t>
            </a:r>
            <a:r>
              <a:rPr lang="da-DK" sz="2400" dirty="0"/>
              <a:t> and </a:t>
            </a:r>
            <a:r>
              <a:rPr lang="da-DK" sz="2400" dirty="0" err="1"/>
              <a:t>appointment</a:t>
            </a:r>
            <a:r>
              <a:rPr lang="da-DK" sz="2400" dirty="0"/>
              <a:t> </a:t>
            </a:r>
            <a:r>
              <a:rPr lang="da-DK" sz="2400" dirty="0" err="1"/>
              <a:t>availability</a:t>
            </a:r>
            <a:r>
              <a:rPr lang="da-DK" sz="2400" dirty="0"/>
              <a:t>)  </a:t>
            </a:r>
          </a:p>
          <a:p>
            <a:pPr marL="228594" indent="-228594"/>
            <a:r>
              <a:rPr lang="da-DK" sz="2400" dirty="0"/>
              <a:t>A more </a:t>
            </a:r>
            <a:r>
              <a:rPr lang="da-DK" sz="2400" dirty="0" err="1"/>
              <a:t>supportive</a:t>
            </a:r>
            <a:r>
              <a:rPr lang="da-DK" sz="2400" dirty="0"/>
              <a:t>, </a:t>
            </a:r>
            <a:r>
              <a:rPr lang="da-DK" sz="2400" dirty="0" err="1"/>
              <a:t>family</a:t>
            </a:r>
            <a:r>
              <a:rPr lang="da-DK" sz="2400" dirty="0"/>
              <a:t> </a:t>
            </a:r>
            <a:r>
              <a:rPr lang="da-DK" sz="2400" dirty="0" err="1"/>
              <a:t>centred</a:t>
            </a:r>
            <a:r>
              <a:rPr lang="da-DK" sz="2400" dirty="0"/>
              <a:t> </a:t>
            </a:r>
            <a:r>
              <a:rPr lang="da-DK" sz="2400" dirty="0" err="1"/>
              <a:t>primary</a:t>
            </a:r>
            <a:r>
              <a:rPr lang="da-DK" sz="2400" dirty="0"/>
              <a:t> </a:t>
            </a:r>
            <a:r>
              <a:rPr lang="da-DK" sz="2400" dirty="0" err="1"/>
              <a:t>health</a:t>
            </a:r>
            <a:r>
              <a:rPr lang="da-DK" sz="2400" dirty="0"/>
              <a:t> </a:t>
            </a:r>
            <a:r>
              <a:rPr lang="da-DK" sz="2400" dirty="0" err="1"/>
              <a:t>care</a:t>
            </a:r>
            <a:r>
              <a:rPr lang="da-DK" sz="2400" dirty="0"/>
              <a:t> approach </a:t>
            </a:r>
            <a:r>
              <a:rPr lang="da-DK" sz="2400" dirty="0" err="1"/>
              <a:t>was</a:t>
            </a:r>
            <a:r>
              <a:rPr lang="da-DK" sz="2400" dirty="0"/>
              <a:t> </a:t>
            </a:r>
            <a:r>
              <a:rPr lang="da-DK" sz="2400" dirty="0" err="1"/>
              <a:t>suggested</a:t>
            </a:r>
            <a:r>
              <a:rPr lang="da-DK" sz="2400" dirty="0"/>
              <a:t> as an </a:t>
            </a:r>
            <a:r>
              <a:rPr lang="da-DK" sz="2400" dirty="0" err="1"/>
              <a:t>effective</a:t>
            </a:r>
            <a:r>
              <a:rPr lang="da-DK" sz="2400" dirty="0"/>
              <a:t> </a:t>
            </a:r>
            <a:r>
              <a:rPr lang="da-DK" sz="2400" dirty="0" err="1"/>
              <a:t>way</a:t>
            </a:r>
            <a:r>
              <a:rPr lang="da-DK" sz="2400" dirty="0"/>
              <a:t> to </a:t>
            </a:r>
            <a:r>
              <a:rPr lang="da-DK" sz="2400" dirty="0" err="1"/>
              <a:t>reach</a:t>
            </a:r>
            <a:r>
              <a:rPr lang="da-DK" sz="2400" dirty="0"/>
              <a:t> out to </a:t>
            </a:r>
            <a:r>
              <a:rPr lang="da-DK" sz="2400" dirty="0" err="1"/>
              <a:t>parents</a:t>
            </a:r>
            <a:r>
              <a:rPr lang="da-DK" sz="2400" dirty="0"/>
              <a:t> in the </a:t>
            </a:r>
            <a:r>
              <a:rPr lang="da-DK" sz="2400" dirty="0" err="1"/>
              <a:t>target</a:t>
            </a:r>
            <a:r>
              <a:rPr lang="da-DK" sz="2400" dirty="0"/>
              <a:t> </a:t>
            </a:r>
            <a:r>
              <a:rPr lang="da-DK" sz="2400" dirty="0" err="1"/>
              <a:t>group</a:t>
            </a:r>
            <a:endParaRPr lang="da-DK" sz="2400" dirty="0"/>
          </a:p>
          <a:p>
            <a:pPr marL="228594" indent="-228594"/>
            <a:r>
              <a:rPr lang="da-DK" sz="2400" dirty="0" err="1"/>
              <a:t>Better</a:t>
            </a:r>
            <a:r>
              <a:rPr lang="da-DK" sz="2400" dirty="0"/>
              <a:t> </a:t>
            </a:r>
            <a:r>
              <a:rPr lang="da-DK" sz="2400" dirty="0" err="1"/>
              <a:t>use</a:t>
            </a:r>
            <a:r>
              <a:rPr lang="da-DK" sz="2400" dirty="0"/>
              <a:t> of data from the register, </a:t>
            </a:r>
            <a:r>
              <a:rPr lang="da-DK" sz="2400" dirty="0" err="1"/>
              <a:t>including</a:t>
            </a:r>
            <a:r>
              <a:rPr lang="da-DK" sz="2400" dirty="0"/>
              <a:t> </a:t>
            </a:r>
            <a:r>
              <a:rPr lang="da-DK" sz="2400" dirty="0" err="1"/>
              <a:t>sharing</a:t>
            </a:r>
            <a:r>
              <a:rPr lang="da-DK" sz="2400" dirty="0"/>
              <a:t> with relevant stakeholders and </a:t>
            </a:r>
            <a:r>
              <a:rPr lang="da-DK" sz="2400" dirty="0" err="1"/>
              <a:t>monitoring</a:t>
            </a:r>
            <a:r>
              <a:rPr lang="da-DK" sz="2400" dirty="0"/>
              <a:t> trends </a:t>
            </a:r>
            <a:r>
              <a:rPr lang="da-DK" sz="2400" dirty="0" err="1"/>
              <a:t>was</a:t>
            </a:r>
            <a:r>
              <a:rPr lang="da-DK" sz="2400" dirty="0"/>
              <a:t> </a:t>
            </a:r>
            <a:r>
              <a:rPr lang="da-DK" sz="2400" dirty="0" err="1"/>
              <a:t>recommneded</a:t>
            </a:r>
            <a:r>
              <a:rPr lang="da-DK" sz="2400" dirty="0"/>
              <a:t> as </a:t>
            </a:r>
            <a:r>
              <a:rPr lang="da-DK" sz="2400" dirty="0" err="1"/>
              <a:t>many</a:t>
            </a:r>
            <a:r>
              <a:rPr lang="da-DK" sz="2400" dirty="0"/>
              <a:t> had </a:t>
            </a:r>
            <a:r>
              <a:rPr lang="da-DK" sz="2400" dirty="0" err="1"/>
              <a:t>been</a:t>
            </a:r>
            <a:r>
              <a:rPr lang="da-DK" sz="2400" dirty="0"/>
              <a:t> </a:t>
            </a:r>
            <a:r>
              <a:rPr lang="da-DK" sz="2400" dirty="0" err="1"/>
              <a:t>unaware</a:t>
            </a:r>
            <a:r>
              <a:rPr lang="da-DK" sz="2400" dirty="0"/>
              <a:t> of the problem in </a:t>
            </a:r>
            <a:r>
              <a:rPr lang="da-DK" sz="2400" dirty="0" err="1"/>
              <a:t>Maitland</a:t>
            </a:r>
            <a:endParaRPr lang="en-US" sz="2400" dirty="0"/>
          </a:p>
          <a:p>
            <a:pPr marL="228594" indent="-228594"/>
            <a:r>
              <a:rPr lang="da-DK" sz="2400" dirty="0" err="1"/>
              <a:t>Sentiment</a:t>
            </a:r>
            <a:r>
              <a:rPr lang="da-DK" sz="2400" dirty="0"/>
              <a:t> </a:t>
            </a:r>
            <a:r>
              <a:rPr lang="da-DK" sz="2400" dirty="0" err="1"/>
              <a:t>among</a:t>
            </a:r>
            <a:r>
              <a:rPr lang="da-DK" sz="2400" dirty="0"/>
              <a:t> </a:t>
            </a:r>
            <a:r>
              <a:rPr lang="da-DK" sz="2400" dirty="0" err="1"/>
              <a:t>health</a:t>
            </a:r>
            <a:r>
              <a:rPr lang="da-DK" sz="2400" dirty="0"/>
              <a:t> </a:t>
            </a:r>
            <a:r>
              <a:rPr lang="da-DK" sz="2400" dirty="0" err="1"/>
              <a:t>workers</a:t>
            </a:r>
            <a:r>
              <a:rPr lang="da-DK" sz="2400" dirty="0"/>
              <a:t> of </a:t>
            </a:r>
            <a:r>
              <a:rPr lang="da-DK" sz="2400" dirty="0" err="1"/>
              <a:t>being</a:t>
            </a:r>
            <a:r>
              <a:rPr lang="da-DK" sz="2400" dirty="0"/>
              <a:t> </a:t>
            </a:r>
            <a:r>
              <a:rPr lang="da-DK" sz="2400" dirty="0" err="1"/>
              <a:t>left</a:t>
            </a:r>
            <a:r>
              <a:rPr lang="da-DK" sz="2400" dirty="0"/>
              <a:t> </a:t>
            </a:r>
            <a:r>
              <a:rPr lang="da-DK" sz="2400" dirty="0" err="1"/>
              <a:t>alone</a:t>
            </a:r>
            <a:r>
              <a:rPr lang="da-DK" sz="2400" dirty="0"/>
              <a:t> and </a:t>
            </a:r>
            <a:r>
              <a:rPr lang="da-DK" sz="2400" dirty="0" err="1"/>
              <a:t>unsupported</a:t>
            </a:r>
            <a:r>
              <a:rPr lang="da-DK" sz="2400" dirty="0"/>
              <a:t> by </a:t>
            </a:r>
            <a:r>
              <a:rPr lang="da-DK" sz="2400" dirty="0" err="1"/>
              <a:t>health</a:t>
            </a:r>
            <a:r>
              <a:rPr lang="da-DK" sz="2400" dirty="0"/>
              <a:t> system</a:t>
            </a:r>
            <a:endParaRPr lang="LID4096" sz="2400" dirty="0"/>
          </a:p>
        </p:txBody>
      </p:sp>
      <p:sp>
        <p:nvSpPr>
          <p:cNvPr id="4" name="Slide Number Placeholder 3"/>
          <p:cNvSpPr>
            <a:spLocks noGrp="1"/>
          </p:cNvSpPr>
          <p:nvPr>
            <p:ph type="sldNum" sz="quarter" idx="12"/>
          </p:nvPr>
        </p:nvSpPr>
        <p:spPr/>
        <p:txBody>
          <a:bodyPr/>
          <a:lstStyle/>
          <a:p>
            <a:endParaRPr lang="en-US" dirty="0"/>
          </a:p>
        </p:txBody>
      </p:sp>
      <p:sp>
        <p:nvSpPr>
          <p:cNvPr id="12" name="Slide Number Placeholder 3"/>
          <p:cNvSpPr txBox="1">
            <a:spLocks/>
          </p:cNvSpPr>
          <p:nvPr/>
        </p:nvSpPr>
        <p:spPr>
          <a:xfrm>
            <a:off x="8737600" y="6356352"/>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p>
        </p:txBody>
      </p:sp>
    </p:spTree>
    <p:extLst>
      <p:ext uri="{BB962C8B-B14F-4D97-AF65-F5344CB8AC3E}">
        <p14:creationId xmlns:p14="http://schemas.microsoft.com/office/powerpoint/2010/main" val="2430660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5AC91-E6FB-45D7-8646-CAFF5DBCFCC0}"/>
              </a:ext>
            </a:extLst>
          </p:cNvPr>
          <p:cNvSpPr>
            <a:spLocks noGrp="1"/>
          </p:cNvSpPr>
          <p:nvPr>
            <p:ph type="title"/>
          </p:nvPr>
        </p:nvSpPr>
        <p:spPr>
          <a:xfrm>
            <a:off x="891950" y="356361"/>
            <a:ext cx="10972800" cy="1258989"/>
          </a:xfrm>
        </p:spPr>
        <p:txBody>
          <a:bodyPr>
            <a:noAutofit/>
          </a:bodyPr>
          <a:lstStyle/>
          <a:p>
            <a:r>
              <a:rPr lang="en-GB" sz="2400" dirty="0"/>
              <a:t>Percent Disagreeing with the Statement, “Overall I think vaccines are safe”</a:t>
            </a:r>
            <a:endParaRPr lang="LID4096" sz="2400" dirty="0"/>
          </a:p>
        </p:txBody>
      </p:sp>
      <p:sp>
        <p:nvSpPr>
          <p:cNvPr id="4" name="Slide Number Placeholder 3">
            <a:extLst>
              <a:ext uri="{FF2B5EF4-FFF2-40B4-BE49-F238E27FC236}">
                <a16:creationId xmlns:a16="http://schemas.microsoft.com/office/drawing/2014/main" id="{CE2B7B29-EBA0-4456-A75C-86B858B10ED0}"/>
              </a:ext>
            </a:extLst>
          </p:cNvPr>
          <p:cNvSpPr>
            <a:spLocks noGrp="1"/>
          </p:cNvSpPr>
          <p:nvPr>
            <p:ph type="sldNum" sz="quarter" idx="12"/>
          </p:nvPr>
        </p:nvSpPr>
        <p:spPr/>
        <p:txBody>
          <a:bodyPr/>
          <a:lstStyle/>
          <a:p>
            <a:fld id="{08CC12AE-189F-46E6-94BB-12FB54E35028}" type="slidenum">
              <a:rPr lang="en-US" smtClean="0"/>
              <a:pPr/>
              <a:t>11</a:t>
            </a:fld>
            <a:endParaRPr lang="en-US" dirty="0"/>
          </a:p>
        </p:txBody>
      </p:sp>
      <p:pic>
        <p:nvPicPr>
          <p:cNvPr id="5" name="Picture 4">
            <a:extLst>
              <a:ext uri="{FF2B5EF4-FFF2-40B4-BE49-F238E27FC236}">
                <a16:creationId xmlns:a16="http://schemas.microsoft.com/office/drawing/2014/main" id="{77388EBB-D565-4F45-AD71-19F62C31F1AE}"/>
              </a:ext>
            </a:extLst>
          </p:cNvPr>
          <p:cNvPicPr>
            <a:picLocks noChangeAspect="1"/>
          </p:cNvPicPr>
          <p:nvPr/>
        </p:nvPicPr>
        <p:blipFill>
          <a:blip r:embed="rId3"/>
          <a:stretch>
            <a:fillRect/>
          </a:stretch>
        </p:blipFill>
        <p:spPr>
          <a:xfrm>
            <a:off x="41646" y="1170005"/>
            <a:ext cx="10146294" cy="5474656"/>
          </a:xfrm>
          <a:prstGeom prst="rect">
            <a:avLst/>
          </a:prstGeom>
        </p:spPr>
      </p:pic>
      <p:sp>
        <p:nvSpPr>
          <p:cNvPr id="6" name="TextBox 5">
            <a:extLst>
              <a:ext uri="{FF2B5EF4-FFF2-40B4-BE49-F238E27FC236}">
                <a16:creationId xmlns:a16="http://schemas.microsoft.com/office/drawing/2014/main" id="{E6C4E9A8-7700-4A5E-8B72-B2117E5F0B6B}"/>
              </a:ext>
            </a:extLst>
          </p:cNvPr>
          <p:cNvSpPr txBox="1"/>
          <p:nvPr/>
        </p:nvSpPr>
        <p:spPr>
          <a:xfrm>
            <a:off x="10009355" y="5813664"/>
            <a:ext cx="1920213" cy="830997"/>
          </a:xfrm>
          <a:prstGeom prst="rect">
            <a:avLst/>
          </a:prstGeom>
          <a:noFill/>
        </p:spPr>
        <p:txBody>
          <a:bodyPr wrap="square" rtlCol="0">
            <a:spAutoFit/>
          </a:bodyPr>
          <a:lstStyle/>
          <a:p>
            <a:r>
              <a:rPr lang="en-US" sz="1600" i="1" dirty="0"/>
              <a:t>The State of Vaccine Confidence Report, 2016, LSHTM</a:t>
            </a:r>
            <a:endParaRPr lang="LID4096" sz="1600" i="1" dirty="0"/>
          </a:p>
        </p:txBody>
      </p:sp>
      <p:sp>
        <p:nvSpPr>
          <p:cNvPr id="7" name="Title 1">
            <a:extLst>
              <a:ext uri="{FF2B5EF4-FFF2-40B4-BE49-F238E27FC236}">
                <a16:creationId xmlns:a16="http://schemas.microsoft.com/office/drawing/2014/main" id="{11657BEB-925D-4C5F-88B5-7B667DED821D}"/>
              </a:ext>
            </a:extLst>
          </p:cNvPr>
          <p:cNvSpPr txBox="1">
            <a:spLocks/>
          </p:cNvSpPr>
          <p:nvPr/>
        </p:nvSpPr>
        <p:spPr>
          <a:xfrm>
            <a:off x="41646" y="165123"/>
            <a:ext cx="12673408" cy="820733"/>
          </a:xfrm>
          <a:prstGeom prst="rect">
            <a:avLst/>
          </a:prstGeom>
        </p:spPr>
        <p:txBody>
          <a:bodyPr vert="horz" lIns="121920" tIns="60960" rIns="121920" bIns="60960" rtlCol="0" anchor="ctr">
            <a:noAutofit/>
          </a:bodyPr>
          <a:lstStyle>
            <a:lvl1pPr algn="ctr" defTabSz="914400" rtl="0" eaLnBrk="1" latinLnBrk="0" hangingPunct="1">
              <a:spcBef>
                <a:spcPct val="0"/>
              </a:spcBef>
              <a:buNone/>
              <a:defRPr sz="4000" kern="1200">
                <a:solidFill>
                  <a:srgbClr val="00558E"/>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algn="l"/>
            <a:r>
              <a:rPr lang="en-GB" sz="3200" dirty="0">
                <a:solidFill>
                  <a:schemeClr val="tx1"/>
                </a:solidFill>
                <a:latin typeface="+mj-lt"/>
                <a:ea typeface="+mj-ea"/>
                <a:cs typeface="+mj-cs"/>
              </a:rPr>
              <a:t>MIC&amp;HIC particularly affected by vaccination confidence.</a:t>
            </a:r>
            <a:endParaRPr lang="en-GB" sz="3733" dirty="0"/>
          </a:p>
          <a:p>
            <a:endParaRPr lang="LID4096" sz="2400" dirty="0"/>
          </a:p>
        </p:txBody>
      </p:sp>
    </p:spTree>
    <p:extLst>
      <p:ext uri="{BB962C8B-B14F-4D97-AF65-F5344CB8AC3E}">
        <p14:creationId xmlns:p14="http://schemas.microsoft.com/office/powerpoint/2010/main" val="816079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BAEBCB-215A-48BD-9E1F-9708F3C9AE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104" y="-875212"/>
            <a:ext cx="12372224" cy="8041710"/>
          </a:xfrm>
          <a:prstGeom prst="rect">
            <a:avLst/>
          </a:prstGeom>
          <a:gradFill>
            <a:gsLst>
              <a:gs pos="0">
                <a:schemeClr val="dk1"/>
              </a:gs>
              <a:gs pos="80000">
                <a:schemeClr val="dk1"/>
              </a:gs>
              <a:gs pos="100000">
                <a:schemeClr val="dk1"/>
              </a:gs>
            </a:gsLst>
            <a:lin ang="16200000" scaled="0"/>
          </a:gradFill>
          <a:effectLst>
            <a:innerShdw blurRad="1270000" dist="2540000">
              <a:prstClr val="black"/>
            </a:innerShdw>
          </a:effectLst>
        </p:spPr>
      </p:pic>
      <p:sp>
        <p:nvSpPr>
          <p:cNvPr id="3" name="TextBox 2">
            <a:extLst>
              <a:ext uri="{FF2B5EF4-FFF2-40B4-BE49-F238E27FC236}">
                <a16:creationId xmlns:a16="http://schemas.microsoft.com/office/drawing/2014/main" id="{7BD298C9-1418-458A-A587-B69D9DF3FC9A}"/>
              </a:ext>
            </a:extLst>
          </p:cNvPr>
          <p:cNvSpPr txBox="1"/>
          <p:nvPr/>
        </p:nvSpPr>
        <p:spPr>
          <a:xfrm>
            <a:off x="10138567" y="-1194626"/>
            <a:ext cx="2053434" cy="8680537"/>
          </a:xfrm>
          <a:prstGeom prst="rect">
            <a:avLst/>
          </a:prstGeom>
          <a:solidFill>
            <a:schemeClr val="tx1"/>
          </a:solidFill>
        </p:spPr>
        <p:txBody>
          <a:bodyPr wrap="square" rtlCol="0">
            <a:spAutoFit/>
          </a:bodyPr>
          <a:lstStyle/>
          <a:p>
            <a:endParaRPr lang="LID4096" dirty="0"/>
          </a:p>
        </p:txBody>
      </p:sp>
      <p:sp>
        <p:nvSpPr>
          <p:cNvPr id="4" name="TextBox 3">
            <a:extLst>
              <a:ext uri="{FF2B5EF4-FFF2-40B4-BE49-F238E27FC236}">
                <a16:creationId xmlns:a16="http://schemas.microsoft.com/office/drawing/2014/main" id="{85A6EB55-A44F-4AC1-ACE7-8662C9CB7444}"/>
              </a:ext>
            </a:extLst>
          </p:cNvPr>
          <p:cNvSpPr txBox="1"/>
          <p:nvPr/>
        </p:nvSpPr>
        <p:spPr>
          <a:xfrm>
            <a:off x="9854644" y="1575982"/>
            <a:ext cx="2217107" cy="1077218"/>
          </a:xfrm>
          <a:prstGeom prst="rect">
            <a:avLst/>
          </a:prstGeom>
          <a:noFill/>
        </p:spPr>
        <p:txBody>
          <a:bodyPr wrap="square" rtlCol="0">
            <a:spAutoFit/>
          </a:bodyPr>
          <a:lstStyle/>
          <a:p>
            <a:r>
              <a:rPr lang="en-US" sz="3200" dirty="0">
                <a:solidFill>
                  <a:schemeClr val="bg1"/>
                </a:solidFill>
              </a:rPr>
              <a:t>The journey…</a:t>
            </a:r>
            <a:endParaRPr lang="LID4096" sz="3200" dirty="0">
              <a:solidFill>
                <a:schemeClr val="bg1"/>
              </a:solidFill>
            </a:endParaRPr>
          </a:p>
        </p:txBody>
      </p:sp>
    </p:spTree>
    <p:extLst>
      <p:ext uri="{BB962C8B-B14F-4D97-AF65-F5344CB8AC3E}">
        <p14:creationId xmlns:p14="http://schemas.microsoft.com/office/powerpoint/2010/main" val="2676383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B4BB72-97E0-43AA-890B-91B9D009C3E9}"/>
              </a:ext>
            </a:extLst>
          </p:cNvPr>
          <p:cNvSpPr/>
          <p:nvPr/>
        </p:nvSpPr>
        <p:spPr>
          <a:xfrm>
            <a:off x="0" y="96494"/>
            <a:ext cx="12192000" cy="6761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Content Placeholder 9"/>
          <p:cNvPicPr>
            <a:picLocks noGrp="1" noChangeAspect="1"/>
          </p:cNvPicPr>
          <p:nvPr>
            <p:ph idx="1"/>
          </p:nvPr>
        </p:nvPicPr>
        <p:blipFill rotWithShape="1">
          <a:blip r:embed="rId3">
            <a:extLst>
              <a:ext uri="{28A0092B-C50C-407E-A947-70E740481C1C}">
                <a14:useLocalDpi xmlns:a14="http://schemas.microsoft.com/office/drawing/2010/main" val="0"/>
              </a:ext>
            </a:extLst>
          </a:blip>
          <a:srcRect/>
          <a:stretch/>
        </p:blipFill>
        <p:spPr>
          <a:xfrm>
            <a:off x="695325" y="493495"/>
            <a:ext cx="10903974" cy="6278307"/>
          </a:xfrm>
        </p:spPr>
      </p:pic>
      <p:sp>
        <p:nvSpPr>
          <p:cNvPr id="6" name="Title 1"/>
          <p:cNvSpPr>
            <a:spLocks noGrp="1"/>
          </p:cNvSpPr>
          <p:nvPr>
            <p:ph type="title"/>
          </p:nvPr>
        </p:nvSpPr>
        <p:spPr>
          <a:xfrm>
            <a:off x="539373" y="296935"/>
            <a:ext cx="10957302" cy="720000"/>
          </a:xfrm>
        </p:spPr>
        <p:txBody>
          <a:bodyPr>
            <a:normAutofit/>
          </a:bodyPr>
          <a:lstStyle/>
          <a:p>
            <a:r>
              <a:rPr lang="en-GB" sz="3200" b="1" dirty="0"/>
              <a:t>The journey to immunization – what are the barriers?</a:t>
            </a:r>
          </a:p>
        </p:txBody>
      </p:sp>
      <p:sp>
        <p:nvSpPr>
          <p:cNvPr id="4" name="TextBox 3">
            <a:extLst>
              <a:ext uri="{FF2B5EF4-FFF2-40B4-BE49-F238E27FC236}">
                <a16:creationId xmlns:a16="http://schemas.microsoft.com/office/drawing/2014/main" id="{366A7A78-2BC1-420C-B146-BF6BCA6C9410}"/>
              </a:ext>
            </a:extLst>
          </p:cNvPr>
          <p:cNvSpPr txBox="1"/>
          <p:nvPr/>
        </p:nvSpPr>
        <p:spPr>
          <a:xfrm>
            <a:off x="213434" y="1597513"/>
            <a:ext cx="2110666" cy="954107"/>
          </a:xfrm>
          <a:prstGeom prst="rect">
            <a:avLst/>
          </a:prstGeom>
          <a:noFill/>
        </p:spPr>
        <p:txBody>
          <a:bodyPr wrap="square" rtlCol="0">
            <a:spAutoFit/>
          </a:bodyPr>
          <a:lstStyle/>
          <a:p>
            <a:r>
              <a:rPr lang="en-GB" sz="1400" dirty="0"/>
              <a:t>Lack of awareness or understanding of the value of immunisation, of service (when/where)</a:t>
            </a:r>
          </a:p>
        </p:txBody>
      </p:sp>
      <p:sp>
        <p:nvSpPr>
          <p:cNvPr id="7" name="TextBox 6">
            <a:extLst>
              <a:ext uri="{FF2B5EF4-FFF2-40B4-BE49-F238E27FC236}">
                <a16:creationId xmlns:a16="http://schemas.microsoft.com/office/drawing/2014/main" id="{1363E172-DBB0-49C9-BD5A-5B91C28466D8}"/>
              </a:ext>
            </a:extLst>
          </p:cNvPr>
          <p:cNvSpPr txBox="1"/>
          <p:nvPr/>
        </p:nvSpPr>
        <p:spPr>
          <a:xfrm>
            <a:off x="213434" y="5463751"/>
            <a:ext cx="2607039" cy="1169551"/>
          </a:xfrm>
          <a:prstGeom prst="rect">
            <a:avLst/>
          </a:prstGeom>
          <a:noFill/>
        </p:spPr>
        <p:txBody>
          <a:bodyPr wrap="square" rtlCol="0">
            <a:spAutoFit/>
          </a:bodyPr>
          <a:lstStyle/>
          <a:p>
            <a:r>
              <a:rPr lang="en-GB" sz="1400" dirty="0"/>
              <a:t>Negative attitude or fear of immunisation, immunisation not a a social norm, or lack of decision making power/ perceived behavioural control</a:t>
            </a:r>
          </a:p>
        </p:txBody>
      </p:sp>
      <p:sp>
        <p:nvSpPr>
          <p:cNvPr id="8" name="TextBox 7">
            <a:extLst>
              <a:ext uri="{FF2B5EF4-FFF2-40B4-BE49-F238E27FC236}">
                <a16:creationId xmlns:a16="http://schemas.microsoft.com/office/drawing/2014/main" id="{EEB60776-A211-4936-881A-99BE928C1E96}"/>
              </a:ext>
            </a:extLst>
          </p:cNvPr>
          <p:cNvSpPr txBox="1"/>
          <p:nvPr/>
        </p:nvSpPr>
        <p:spPr>
          <a:xfrm>
            <a:off x="3146150" y="3415795"/>
            <a:ext cx="2291795" cy="1169551"/>
          </a:xfrm>
          <a:prstGeom prst="rect">
            <a:avLst/>
          </a:prstGeom>
          <a:noFill/>
        </p:spPr>
        <p:txBody>
          <a:bodyPr wrap="square" rtlCol="0">
            <a:spAutoFit/>
          </a:bodyPr>
          <a:lstStyle/>
          <a:p>
            <a:r>
              <a:rPr lang="en-GB" sz="1400" dirty="0"/>
              <a:t>Challenging logistics– remembering dates and times, finding transport, childcare, competing priorities </a:t>
            </a:r>
          </a:p>
        </p:txBody>
      </p:sp>
      <p:sp>
        <p:nvSpPr>
          <p:cNvPr id="9" name="TextBox 8">
            <a:extLst>
              <a:ext uri="{FF2B5EF4-FFF2-40B4-BE49-F238E27FC236}">
                <a16:creationId xmlns:a16="http://schemas.microsoft.com/office/drawing/2014/main" id="{500FFF80-41EB-44F9-B637-7B100B5E4CA1}"/>
              </a:ext>
            </a:extLst>
          </p:cNvPr>
          <p:cNvSpPr txBox="1"/>
          <p:nvPr/>
        </p:nvSpPr>
        <p:spPr>
          <a:xfrm>
            <a:off x="6633176" y="1044604"/>
            <a:ext cx="2110666" cy="738664"/>
          </a:xfrm>
          <a:prstGeom prst="rect">
            <a:avLst/>
          </a:prstGeom>
          <a:noFill/>
        </p:spPr>
        <p:txBody>
          <a:bodyPr wrap="square" rtlCol="0">
            <a:spAutoFit/>
          </a:bodyPr>
          <a:lstStyle/>
          <a:p>
            <a:r>
              <a:rPr lang="en-GB" sz="1400" dirty="0"/>
              <a:t>Financial, occupational and social costs as well as lack of convenience </a:t>
            </a:r>
          </a:p>
        </p:txBody>
      </p:sp>
      <p:sp>
        <p:nvSpPr>
          <p:cNvPr id="11" name="TextBox 10">
            <a:extLst>
              <a:ext uri="{FF2B5EF4-FFF2-40B4-BE49-F238E27FC236}">
                <a16:creationId xmlns:a16="http://schemas.microsoft.com/office/drawing/2014/main" id="{F904F996-F3B0-436F-A938-2D5C04E8311C}"/>
              </a:ext>
            </a:extLst>
          </p:cNvPr>
          <p:cNvSpPr txBox="1"/>
          <p:nvPr/>
        </p:nvSpPr>
        <p:spPr>
          <a:xfrm>
            <a:off x="9709545" y="1327738"/>
            <a:ext cx="2695250" cy="954107"/>
          </a:xfrm>
          <a:prstGeom prst="rect">
            <a:avLst/>
          </a:prstGeom>
          <a:noFill/>
        </p:spPr>
        <p:txBody>
          <a:bodyPr wrap="square" rtlCol="0">
            <a:spAutoFit/>
          </a:bodyPr>
          <a:lstStyle/>
          <a:p>
            <a:r>
              <a:rPr lang="en-GB" sz="1400" dirty="0"/>
              <a:t>Health centre convenience: </a:t>
            </a:r>
          </a:p>
          <a:p>
            <a:r>
              <a:rPr lang="en-GB" sz="1400" dirty="0"/>
              <a:t>client satisfaction, interpersonal communication, missed opportunities to vaccinate</a:t>
            </a:r>
          </a:p>
        </p:txBody>
      </p:sp>
      <p:sp>
        <p:nvSpPr>
          <p:cNvPr id="12" name="TextBox 11">
            <a:extLst>
              <a:ext uri="{FF2B5EF4-FFF2-40B4-BE49-F238E27FC236}">
                <a16:creationId xmlns:a16="http://schemas.microsoft.com/office/drawing/2014/main" id="{9E779A4B-B52C-4E11-93C3-658867A77038}"/>
              </a:ext>
            </a:extLst>
          </p:cNvPr>
          <p:cNvSpPr txBox="1"/>
          <p:nvPr/>
        </p:nvSpPr>
        <p:spPr>
          <a:xfrm>
            <a:off x="8606256" y="5454498"/>
            <a:ext cx="2588063" cy="954107"/>
          </a:xfrm>
          <a:prstGeom prst="rect">
            <a:avLst/>
          </a:prstGeom>
          <a:noFill/>
        </p:spPr>
        <p:txBody>
          <a:bodyPr wrap="square" rtlCol="0">
            <a:spAutoFit/>
          </a:bodyPr>
          <a:lstStyle/>
          <a:p>
            <a:r>
              <a:rPr lang="en-GB" sz="1400" dirty="0"/>
              <a:t>After service: feedback, next steps, side effects, cues to action, reinforcement of vaccination as a social norm</a:t>
            </a:r>
          </a:p>
        </p:txBody>
      </p:sp>
      <p:sp>
        <p:nvSpPr>
          <p:cNvPr id="2" name="TextBox 1">
            <a:extLst>
              <a:ext uri="{FF2B5EF4-FFF2-40B4-BE49-F238E27FC236}">
                <a16:creationId xmlns:a16="http://schemas.microsoft.com/office/drawing/2014/main" id="{12DD9DA0-EBB2-4BF5-95B9-6D99E68832BB}"/>
              </a:ext>
            </a:extLst>
          </p:cNvPr>
          <p:cNvSpPr txBox="1"/>
          <p:nvPr/>
        </p:nvSpPr>
        <p:spPr>
          <a:xfrm>
            <a:off x="6311900" y="6494803"/>
            <a:ext cx="5240315" cy="276999"/>
          </a:xfrm>
          <a:prstGeom prst="rect">
            <a:avLst/>
          </a:prstGeom>
          <a:noFill/>
        </p:spPr>
        <p:txBody>
          <a:bodyPr wrap="square" rtlCol="0">
            <a:spAutoFit/>
          </a:bodyPr>
          <a:lstStyle/>
          <a:p>
            <a:r>
              <a:rPr lang="en-GB" sz="1200" dirty="0"/>
              <a:t>UNICEF Journey to Immunization, Social Data Workshop, Amman 2017</a:t>
            </a:r>
          </a:p>
        </p:txBody>
      </p:sp>
    </p:spTree>
    <p:extLst>
      <p:ext uri="{BB962C8B-B14F-4D97-AF65-F5344CB8AC3E}">
        <p14:creationId xmlns:p14="http://schemas.microsoft.com/office/powerpoint/2010/main" val="200715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8" grpId="0"/>
      <p:bldP spid="9" grpId="0"/>
      <p:bldP spid="11" grpId="0"/>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894" y="186682"/>
            <a:ext cx="10515600" cy="1325563"/>
          </a:xfrm>
        </p:spPr>
        <p:txBody>
          <a:bodyPr>
            <a:normAutofit/>
          </a:bodyPr>
          <a:lstStyle/>
          <a:p>
            <a:r>
              <a:rPr lang="en-GB" sz="3600" dirty="0"/>
              <a:t>and a (collective) need to move beyond a deficit model</a:t>
            </a:r>
          </a:p>
        </p:txBody>
      </p:sp>
      <p:graphicFrame>
        <p:nvGraphicFramePr>
          <p:cNvPr id="5" name="Content Placeholder 4"/>
          <p:cNvGraphicFramePr>
            <a:graphicFrameLocks noGrp="1"/>
          </p:cNvGraphicFramePr>
          <p:nvPr>
            <p:ph sz="quarter" idx="1"/>
          </p:nvPr>
        </p:nvGraphicFramePr>
        <p:xfrm>
          <a:off x="2401690" y="1556794"/>
          <a:ext cx="7438727" cy="41103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6538558" y="6312408"/>
            <a:ext cx="8568952" cy="584775"/>
          </a:xfrm>
          <a:prstGeom prst="rect">
            <a:avLst/>
          </a:prstGeom>
          <a:noFill/>
        </p:spPr>
        <p:txBody>
          <a:bodyPr wrap="square" rtlCol="0">
            <a:spAutoFit/>
          </a:bodyPr>
          <a:lstStyle/>
          <a:p>
            <a:pPr marL="320032" indent="-320032">
              <a:spcBef>
                <a:spcPts val="700"/>
              </a:spcBef>
              <a:buClr>
                <a:schemeClr val="accent2"/>
              </a:buClr>
              <a:buSzPct val="60000"/>
              <a:buFont typeface="Wingdings" pitchFamily="2" charset="2"/>
              <a:buChar char="Ø"/>
            </a:pPr>
            <a:r>
              <a:rPr lang="en-GB" sz="1400" dirty="0" err="1"/>
              <a:t>Leask</a:t>
            </a:r>
            <a:r>
              <a:rPr lang="en-GB" sz="1400" dirty="0"/>
              <a:t>, J. (2011). Target the fence-sitters. Nature, 473(7348), 443-445.</a:t>
            </a:r>
          </a:p>
          <a:p>
            <a:endParaRPr lang="en-GB" dirty="0"/>
          </a:p>
        </p:txBody>
      </p:sp>
      <p:pic>
        <p:nvPicPr>
          <p:cNvPr id="9" name="Picture 8" descr="1436362700_head-atom_64.png"/>
          <p:cNvPicPr>
            <a:picLocks noChangeAspect="1"/>
          </p:cNvPicPr>
          <p:nvPr/>
        </p:nvPicPr>
        <p:blipFill>
          <a:blip r:embed="rId8" cstate="print"/>
          <a:stretch>
            <a:fillRect/>
          </a:stretch>
        </p:blipFill>
        <p:spPr>
          <a:xfrm>
            <a:off x="5447928" y="4869160"/>
            <a:ext cx="1257672" cy="1257672"/>
          </a:xfrm>
          <a:prstGeom prst="rect">
            <a:avLst/>
          </a:prstGeom>
        </p:spPr>
      </p:pic>
      <p:sp>
        <p:nvSpPr>
          <p:cNvPr id="11" name="&quot;No&quot; Symbol 10"/>
          <p:cNvSpPr/>
          <p:nvPr/>
        </p:nvSpPr>
        <p:spPr>
          <a:xfrm>
            <a:off x="4367808" y="2204864"/>
            <a:ext cx="3384376" cy="3240360"/>
          </a:xfrm>
          <a:prstGeom prst="noSmoking">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94921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9"/>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1" grpId="0" animBg="1"/>
      <p:bldP spid="11"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12" descr="A picture containing building, table, person, indoor&#10;&#10;Description generated with very high confidence">
            <a:extLst>
              <a:ext uri="{FF2B5EF4-FFF2-40B4-BE49-F238E27FC236}">
                <a16:creationId xmlns:a16="http://schemas.microsoft.com/office/drawing/2014/main" id="{8295C589-7674-449C-93E6-FBA4C447AED5}"/>
              </a:ext>
            </a:extLst>
          </p:cNvPr>
          <p:cNvPicPr>
            <a:picLocks noChangeAspect="1"/>
          </p:cNvPicPr>
          <p:nvPr/>
        </p:nvPicPr>
        <p:blipFill rotWithShape="1">
          <a:blip r:embed="rId3"/>
          <a:srcRect t="15956" r="-88" b="-10344"/>
          <a:stretch/>
        </p:blipFill>
        <p:spPr bwMode="gray">
          <a:xfrm>
            <a:off x="-64906" y="14890"/>
            <a:ext cx="12286287" cy="7710327"/>
          </a:xfrm>
          <a:prstGeom prst="rect">
            <a:avLst/>
          </a:prstGeom>
        </p:spPr>
      </p:pic>
      <p:sp>
        <p:nvSpPr>
          <p:cNvPr id="126" name="Shape 126"/>
          <p:cNvSpPr/>
          <p:nvPr/>
        </p:nvSpPr>
        <p:spPr>
          <a:xfrm>
            <a:off x="5374387" y="3732036"/>
            <a:ext cx="1619000" cy="207735"/>
          </a:xfrm>
          <a:prstGeom prst="rect">
            <a:avLst/>
          </a:prstGeom>
          <a:ln w="12700">
            <a:miter lim="400000"/>
          </a:ln>
          <a:extLst>
            <a:ext uri="{C572A759-6A51-4108-AA02-DFA0A04FC94B}">
              <ma14:wrappingTextBoxFlag xmlns:ma14="http://schemas.microsoft.com/office/mac/drawingml/2011/main" xmlns="" val="1"/>
            </a:ext>
          </a:extLst>
        </p:spPr>
        <p:txBody>
          <a:bodyPr wrap="square" lIns="19043" tIns="19043" rIns="19043" bIns="19043" anchor="ctr">
            <a:spAutoFit/>
          </a:bodyPr>
          <a:lstStyle/>
          <a:p>
            <a:pPr algn="ctr" defTabSz="309371" hangingPunct="0"/>
            <a:endParaRPr lang="en-US" sz="1100" b="1" kern="0" dirty="0">
              <a:solidFill>
                <a:srgbClr val="FFFEFF"/>
              </a:solidFill>
              <a:latin typeface="Calibri"/>
              <a:cs typeface="Calibri"/>
              <a:sym typeface="Calibri"/>
            </a:endParaRPr>
          </a:p>
        </p:txBody>
      </p:sp>
      <p:grpSp>
        <p:nvGrpSpPr>
          <p:cNvPr id="5" name="Group 4">
            <a:extLst>
              <a:ext uri="{FF2B5EF4-FFF2-40B4-BE49-F238E27FC236}">
                <a16:creationId xmlns:a16="http://schemas.microsoft.com/office/drawing/2014/main" id="{0D8DA4C5-FE52-4E48-8C4F-61A64233767F}"/>
              </a:ext>
            </a:extLst>
          </p:cNvPr>
          <p:cNvGrpSpPr/>
          <p:nvPr/>
        </p:nvGrpSpPr>
        <p:grpSpPr>
          <a:xfrm>
            <a:off x="10283495" y="3762164"/>
            <a:ext cx="1609352" cy="1361279"/>
            <a:chOff x="9230784" y="2754156"/>
            <a:chExt cx="2145803" cy="1815039"/>
          </a:xfrm>
        </p:grpSpPr>
        <p:sp>
          <p:nvSpPr>
            <p:cNvPr id="124" name="Shape 124"/>
            <p:cNvSpPr/>
            <p:nvPr/>
          </p:nvSpPr>
          <p:spPr>
            <a:xfrm>
              <a:off x="9230784" y="2754156"/>
              <a:ext cx="2145803" cy="1364457"/>
            </a:xfrm>
            <a:prstGeom prst="rect">
              <a:avLst/>
            </a:prstGeom>
            <a:ln w="12700">
              <a:miter lim="400000"/>
            </a:ln>
            <a:extLst>
              <a:ext uri="{C572A759-6A51-4108-AA02-DFA0A04FC94B}">
                <ma14:wrappingTextBoxFlag xmlns:ma14="http://schemas.microsoft.com/office/mac/drawingml/2011/main" xmlns="" val="1"/>
              </a:ext>
            </a:extLst>
          </p:spPr>
          <p:txBody>
            <a:bodyPr wrap="square" lIns="19043" tIns="19043" rIns="19043" bIns="19043" anchor="ctr">
              <a:spAutoFit/>
            </a:bodyPr>
            <a:lstStyle/>
            <a:p>
              <a:pPr algn="ctr" defTabSz="309371" hangingPunct="0">
                <a:spcBef>
                  <a:spcPts val="751"/>
                </a:spcBef>
                <a:defRPr sz="3200">
                  <a:solidFill>
                    <a:srgbClr val="FFFFFF"/>
                  </a:solidFill>
                </a:defRPr>
              </a:pPr>
              <a:r>
                <a:rPr lang="en-US" sz="1600" b="1" kern="0" dirty="0">
                  <a:solidFill>
                    <a:srgbClr val="FFFFFF"/>
                  </a:solidFill>
                  <a:latin typeface="Calibri"/>
                  <a:cs typeface="Calibri"/>
                  <a:sym typeface="Calibri"/>
                </a:rPr>
                <a:t>Cultivate and sustain public trust in vaccines and services</a:t>
              </a:r>
              <a:endParaRPr sz="1600" b="1" kern="0" dirty="0">
                <a:solidFill>
                  <a:srgbClr val="FFFFFF"/>
                </a:solidFill>
                <a:latin typeface="Calibri"/>
                <a:cs typeface="Calibri"/>
                <a:sym typeface="Calibri"/>
              </a:endParaRPr>
            </a:p>
          </p:txBody>
        </p:sp>
        <p:sp>
          <p:nvSpPr>
            <p:cNvPr id="20" name="Shape 114"/>
            <p:cNvSpPr txBox="1">
              <a:spLocks/>
            </p:cNvSpPr>
            <p:nvPr/>
          </p:nvSpPr>
          <p:spPr>
            <a:xfrm>
              <a:off x="9254986" y="4232612"/>
              <a:ext cx="2050925" cy="33658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Autofit/>
            </a:bodyPr>
            <a:lstStyle>
              <a:lvl1pPr marL="0" marR="0" indent="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1pPr>
              <a:lvl2pPr marL="0" marR="0" indent="228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2pPr>
              <a:lvl3pPr marL="0" marR="0" indent="457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3pPr>
              <a:lvl4pPr marL="0" marR="0" indent="685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4pPr>
              <a:lvl5pPr marL="0" marR="0" indent="9144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5pPr>
              <a:lvl6pPr marL="0" marR="0" indent="11430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6pPr>
              <a:lvl7pPr marL="0" marR="0" indent="1371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7pPr>
              <a:lvl8pPr marL="0" marR="0" indent="1600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8pPr>
              <a:lvl9pPr marL="0" marR="0" indent="1828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9pPr>
            </a:lstStyle>
            <a:p>
              <a:pPr algn="ctr" defTabSz="309371" hangingPunct="0">
                <a:lnSpc>
                  <a:spcPct val="70000"/>
                </a:lnSpc>
              </a:pPr>
              <a:r>
                <a:rPr lang="en-US" sz="2600" kern="0" dirty="0">
                  <a:solidFill>
                    <a:srgbClr val="FFFFFF"/>
                  </a:solidFill>
                  <a:latin typeface="Calibri"/>
                  <a:cs typeface="Calibri"/>
                </a:rPr>
                <a:t>Build Trust</a:t>
              </a:r>
            </a:p>
          </p:txBody>
        </p:sp>
      </p:grpSp>
      <p:grpSp>
        <p:nvGrpSpPr>
          <p:cNvPr id="4" name="Group 3">
            <a:extLst>
              <a:ext uri="{FF2B5EF4-FFF2-40B4-BE49-F238E27FC236}">
                <a16:creationId xmlns:a16="http://schemas.microsoft.com/office/drawing/2014/main" id="{DEE9A4A0-2FF1-431C-9898-81A095879044}"/>
              </a:ext>
            </a:extLst>
          </p:cNvPr>
          <p:cNvGrpSpPr/>
          <p:nvPr/>
        </p:nvGrpSpPr>
        <p:grpSpPr>
          <a:xfrm>
            <a:off x="5760290" y="5142952"/>
            <a:ext cx="2631905" cy="1379081"/>
            <a:chOff x="5478928" y="3999879"/>
            <a:chExt cx="3509206" cy="1838774"/>
          </a:xfrm>
        </p:grpSpPr>
        <p:sp>
          <p:nvSpPr>
            <p:cNvPr id="123" name="Shape 123"/>
            <p:cNvSpPr/>
            <p:nvPr/>
          </p:nvSpPr>
          <p:spPr>
            <a:xfrm>
              <a:off x="7137351" y="3999879"/>
              <a:ext cx="1850783" cy="1838774"/>
            </a:xfrm>
            <a:prstGeom prst="rect">
              <a:avLst/>
            </a:prstGeom>
            <a:ln w="12700">
              <a:miter lim="400000"/>
            </a:ln>
            <a:extLst>
              <a:ext uri="{C572A759-6A51-4108-AA02-DFA0A04FC94B}">
                <ma14:wrappingTextBoxFlag xmlns:ma14="http://schemas.microsoft.com/office/mac/drawingml/2011/main" xmlns="" val="1"/>
              </a:ext>
            </a:extLst>
          </p:spPr>
          <p:txBody>
            <a:bodyPr wrap="square" lIns="19043" tIns="19043" rIns="19043" bIns="19043" anchor="ctr">
              <a:spAutoFit/>
            </a:bodyPr>
            <a:lstStyle>
              <a:lvl1pPr algn="ctr">
                <a:lnSpc>
                  <a:spcPct val="110000"/>
                </a:lnSpc>
                <a:spcBef>
                  <a:spcPts val="2000"/>
                </a:spcBef>
                <a:defRPr sz="3200">
                  <a:solidFill>
                    <a:srgbClr val="FFFFFF"/>
                  </a:solidFill>
                </a:defRPr>
              </a:lvl1pPr>
            </a:lstStyle>
            <a:p>
              <a:pPr defTabSz="309371" hangingPunct="0">
                <a:spcBef>
                  <a:spcPts val="751"/>
                </a:spcBef>
              </a:pPr>
              <a:r>
                <a:rPr lang="en-US" sz="1600" b="1" kern="0" dirty="0">
                  <a:solidFill>
                    <a:srgbClr val="FFFEFF"/>
                  </a:solidFill>
                  <a:latin typeface="Calibri"/>
                  <a:cs typeface="Calibri"/>
                  <a:sym typeface="Calibri"/>
                </a:rPr>
                <a:t>Use nudges to overcome the gap between intentions and actions</a:t>
              </a:r>
              <a:endParaRPr lang="en-US" sz="1600" b="1" kern="0" dirty="0">
                <a:latin typeface="Calibri"/>
                <a:cs typeface="Calibri"/>
                <a:sym typeface="Calibri"/>
              </a:endParaRPr>
            </a:p>
          </p:txBody>
        </p:sp>
        <p:sp>
          <p:nvSpPr>
            <p:cNvPr id="21" name="Shape 114"/>
            <p:cNvSpPr txBox="1">
              <a:spLocks/>
            </p:cNvSpPr>
            <p:nvPr/>
          </p:nvSpPr>
          <p:spPr>
            <a:xfrm>
              <a:off x="5478928" y="4110059"/>
              <a:ext cx="1753812" cy="56068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Autofit/>
            </a:bodyPr>
            <a:lstStyle>
              <a:lvl1pPr marL="0" marR="0" indent="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1pPr>
              <a:lvl2pPr marL="0" marR="0" indent="228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2pPr>
              <a:lvl3pPr marL="0" marR="0" indent="457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3pPr>
              <a:lvl4pPr marL="0" marR="0" indent="685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4pPr>
              <a:lvl5pPr marL="0" marR="0" indent="9144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5pPr>
              <a:lvl6pPr marL="0" marR="0" indent="11430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6pPr>
              <a:lvl7pPr marL="0" marR="0" indent="1371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7pPr>
              <a:lvl8pPr marL="0" marR="0" indent="1600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8pPr>
              <a:lvl9pPr marL="0" marR="0" indent="1828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9pPr>
            </a:lstStyle>
            <a:p>
              <a:pPr algn="ctr" defTabSz="309371" hangingPunct="0">
                <a:lnSpc>
                  <a:spcPct val="70000"/>
                </a:lnSpc>
              </a:pPr>
              <a:r>
                <a:rPr lang="en-US" sz="2400" kern="0" dirty="0">
                  <a:solidFill>
                    <a:srgbClr val="FFFFFF"/>
                  </a:solidFill>
                  <a:latin typeface="Calibri"/>
                  <a:cs typeface="Calibri"/>
                </a:rPr>
                <a:t>Activate Intentions</a:t>
              </a:r>
            </a:p>
          </p:txBody>
        </p:sp>
      </p:grpSp>
      <p:grpSp>
        <p:nvGrpSpPr>
          <p:cNvPr id="6" name="Group 5">
            <a:extLst>
              <a:ext uri="{FF2B5EF4-FFF2-40B4-BE49-F238E27FC236}">
                <a16:creationId xmlns:a16="http://schemas.microsoft.com/office/drawing/2014/main" id="{C1C8E7D5-48D6-4164-89EE-42283A27ECA4}"/>
              </a:ext>
            </a:extLst>
          </p:cNvPr>
          <p:cNvGrpSpPr/>
          <p:nvPr/>
        </p:nvGrpSpPr>
        <p:grpSpPr>
          <a:xfrm>
            <a:off x="8392191" y="5745978"/>
            <a:ext cx="3782607" cy="837395"/>
            <a:chOff x="-308463" y="5747228"/>
            <a:chExt cx="5043476" cy="1116527"/>
          </a:xfrm>
        </p:grpSpPr>
        <p:sp>
          <p:nvSpPr>
            <p:cNvPr id="14" name="Shape 123"/>
            <p:cNvSpPr/>
            <p:nvPr/>
          </p:nvSpPr>
          <p:spPr>
            <a:xfrm>
              <a:off x="-308463" y="5747228"/>
              <a:ext cx="3210787" cy="1116527"/>
            </a:xfrm>
            <a:prstGeom prst="rect">
              <a:avLst/>
            </a:prstGeom>
            <a:ln w="12700">
              <a:miter lim="400000"/>
            </a:ln>
            <a:extLst>
              <a:ext uri="{C572A759-6A51-4108-AA02-DFA0A04FC94B}">
                <ma14:wrappingTextBoxFlag xmlns:ma14="http://schemas.microsoft.com/office/mac/drawingml/2011/main" xmlns="" val="1"/>
              </a:ext>
            </a:extLst>
          </p:spPr>
          <p:txBody>
            <a:bodyPr wrap="square" lIns="19043" tIns="19043" rIns="19043" bIns="19043" anchor="ctr">
              <a:spAutoFit/>
            </a:bodyPr>
            <a:lstStyle>
              <a:lvl1pPr algn="ctr">
                <a:lnSpc>
                  <a:spcPct val="110000"/>
                </a:lnSpc>
                <a:spcBef>
                  <a:spcPts val="2000"/>
                </a:spcBef>
                <a:defRPr sz="3200">
                  <a:solidFill>
                    <a:srgbClr val="FFFFFF"/>
                  </a:solidFill>
                </a:defRPr>
              </a:lvl1pPr>
            </a:lstStyle>
            <a:p>
              <a:pPr defTabSz="309371" hangingPunct="0">
                <a:spcBef>
                  <a:spcPts val="751"/>
                </a:spcBef>
              </a:pPr>
              <a:r>
                <a:rPr lang="en-US" sz="1600" b="1" kern="0" dirty="0">
                  <a:solidFill>
                    <a:srgbClr val="FFFEFF"/>
                  </a:solidFill>
                  <a:latin typeface="Calibri"/>
                  <a:sym typeface="Calibri"/>
                </a:rPr>
                <a:t>Involve communities to improve the quality and accountability of services</a:t>
              </a:r>
            </a:p>
          </p:txBody>
        </p:sp>
        <p:sp>
          <p:nvSpPr>
            <p:cNvPr id="19" name="Shape 114"/>
            <p:cNvSpPr txBox="1">
              <a:spLocks/>
            </p:cNvSpPr>
            <p:nvPr/>
          </p:nvSpPr>
          <p:spPr>
            <a:xfrm>
              <a:off x="2334746" y="5833041"/>
              <a:ext cx="2400267" cy="43081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Autofit/>
            </a:bodyPr>
            <a:lstStyle>
              <a:lvl1pPr marL="0" marR="0" indent="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1pPr>
              <a:lvl2pPr marL="0" marR="0" indent="228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2pPr>
              <a:lvl3pPr marL="0" marR="0" indent="457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3pPr>
              <a:lvl4pPr marL="0" marR="0" indent="685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4pPr>
              <a:lvl5pPr marL="0" marR="0" indent="9144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5pPr>
              <a:lvl6pPr marL="0" marR="0" indent="11430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6pPr>
              <a:lvl7pPr marL="0" marR="0" indent="1371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7pPr>
              <a:lvl8pPr marL="0" marR="0" indent="1600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8pPr>
              <a:lvl9pPr marL="0" marR="0" indent="1828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9pPr>
            </a:lstStyle>
            <a:p>
              <a:pPr algn="ctr" defTabSz="309371" hangingPunct="0"/>
              <a:r>
                <a:rPr lang="en-US" sz="2400" kern="0" dirty="0">
                  <a:solidFill>
                    <a:srgbClr val="FFFFFF"/>
                  </a:solidFill>
                  <a:latin typeface="Calibri"/>
                  <a:cs typeface="Calibri"/>
                </a:rPr>
                <a:t>Tailor Services</a:t>
              </a:r>
            </a:p>
          </p:txBody>
        </p:sp>
      </p:grpSp>
      <p:sp>
        <p:nvSpPr>
          <p:cNvPr id="17" name="Shape 114">
            <a:extLst>
              <a:ext uri="{FF2B5EF4-FFF2-40B4-BE49-F238E27FC236}">
                <a16:creationId xmlns:a16="http://schemas.microsoft.com/office/drawing/2014/main" id="{0EBF838C-20AD-4D06-B203-289E2ECED3FE}"/>
              </a:ext>
            </a:extLst>
          </p:cNvPr>
          <p:cNvSpPr txBox="1">
            <a:spLocks/>
          </p:cNvSpPr>
          <p:nvPr/>
        </p:nvSpPr>
        <p:spPr>
          <a:xfrm>
            <a:off x="2135561" y="1421460"/>
            <a:ext cx="4006836" cy="1287461"/>
          </a:xfrm>
          <a:prstGeom prst="rect">
            <a:avLst/>
          </a:prstGeom>
        </p:spPr>
        <p:txBody>
          <a:bodyPr vert="horz" lIns="0" tIns="0" rIns="0" bIns="0" rtlCol="0"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i="1" dirty="0">
              <a:solidFill>
                <a:srgbClr val="0070C0"/>
              </a:solidFill>
            </a:endParaRPr>
          </a:p>
        </p:txBody>
      </p:sp>
      <p:sp>
        <p:nvSpPr>
          <p:cNvPr id="16" name="Rectangle 15">
            <a:extLst>
              <a:ext uri="{FF2B5EF4-FFF2-40B4-BE49-F238E27FC236}">
                <a16:creationId xmlns:a16="http://schemas.microsoft.com/office/drawing/2014/main" id="{476C3EF8-7571-481F-A943-2289A49D1D71}"/>
              </a:ext>
            </a:extLst>
          </p:cNvPr>
          <p:cNvSpPr/>
          <p:nvPr/>
        </p:nvSpPr>
        <p:spPr>
          <a:xfrm rot="5400000">
            <a:off x="5537202" y="-5744430"/>
            <a:ext cx="1028516" cy="12232729"/>
          </a:xfrm>
          <a:prstGeom prst="rect">
            <a:avLst/>
          </a:prstGeom>
          <a:gradFill flip="none" rotWithShape="1">
            <a:gsLst>
              <a:gs pos="100000">
                <a:srgbClr val="432818">
                  <a:alpha val="0"/>
                </a:srgbClr>
              </a:gs>
              <a:gs pos="63000">
                <a:srgbClr val="432818">
                  <a:alpha val="91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2" name="Title 1"/>
          <p:cNvSpPr>
            <a:spLocks noGrp="1"/>
          </p:cNvSpPr>
          <p:nvPr>
            <p:ph type="title"/>
          </p:nvPr>
        </p:nvSpPr>
        <p:spPr>
          <a:xfrm>
            <a:off x="24178" y="241577"/>
            <a:ext cx="11815662" cy="545087"/>
          </a:xfrm>
        </p:spPr>
        <p:txBody>
          <a:bodyPr>
            <a:normAutofit fontScale="90000"/>
          </a:bodyPr>
          <a:lstStyle/>
          <a:p>
            <a:pPr algn="l"/>
            <a:r>
              <a:rPr lang="en-US" sz="3600" b="1" dirty="0">
                <a:solidFill>
                  <a:schemeClr val="bg1">
                    <a:lumMod val="95000"/>
                  </a:schemeClr>
                </a:solidFill>
              </a:rPr>
              <a:t>Generating demand requires more than communication</a:t>
            </a:r>
            <a:br>
              <a:rPr lang="en-US" sz="3600" i="1" dirty="0">
                <a:solidFill>
                  <a:srgbClr val="0070C0"/>
                </a:solidFill>
              </a:rPr>
            </a:br>
            <a:endParaRPr lang="en-US" sz="3600" dirty="0"/>
          </a:p>
        </p:txBody>
      </p:sp>
      <p:grpSp>
        <p:nvGrpSpPr>
          <p:cNvPr id="3" name="Group 2">
            <a:extLst>
              <a:ext uri="{FF2B5EF4-FFF2-40B4-BE49-F238E27FC236}">
                <a16:creationId xmlns:a16="http://schemas.microsoft.com/office/drawing/2014/main" id="{770A05ED-99AD-4A3F-9C89-AD6C3DC7931D}"/>
              </a:ext>
            </a:extLst>
          </p:cNvPr>
          <p:cNvGrpSpPr/>
          <p:nvPr/>
        </p:nvGrpSpPr>
        <p:grpSpPr>
          <a:xfrm>
            <a:off x="9774875" y="1702115"/>
            <a:ext cx="2117972" cy="953211"/>
            <a:chOff x="9353802" y="304397"/>
            <a:chExt cx="2823963" cy="1270947"/>
          </a:xfrm>
        </p:grpSpPr>
        <p:sp>
          <p:nvSpPr>
            <p:cNvPr id="128" name="Shape 128"/>
            <p:cNvSpPr/>
            <p:nvPr/>
          </p:nvSpPr>
          <p:spPr>
            <a:xfrm>
              <a:off x="9353802" y="304397"/>
              <a:ext cx="2823963" cy="755401"/>
            </a:xfrm>
            <a:prstGeom prst="rect">
              <a:avLst/>
            </a:prstGeom>
            <a:ln w="12700">
              <a:miter lim="400000"/>
            </a:ln>
            <a:extLst>
              <a:ext uri="{C572A759-6A51-4108-AA02-DFA0A04FC94B}">
                <ma14:wrappingTextBoxFlag xmlns:ma14="http://schemas.microsoft.com/office/mac/drawingml/2011/main" xmlns="" val="1"/>
              </a:ext>
            </a:extLst>
          </p:spPr>
          <p:txBody>
            <a:bodyPr wrap="square" lIns="19043" tIns="19043" rIns="19043" bIns="19043" anchor="ctr">
              <a:spAutoFit/>
            </a:bodyPr>
            <a:lstStyle>
              <a:lvl1pPr algn="ctr">
                <a:lnSpc>
                  <a:spcPct val="110000"/>
                </a:lnSpc>
                <a:spcBef>
                  <a:spcPts val="2000"/>
                </a:spcBef>
                <a:defRPr sz="3200">
                  <a:solidFill>
                    <a:srgbClr val="FFFFFF"/>
                  </a:solidFill>
                </a:defRPr>
              </a:lvl1pPr>
            </a:lstStyle>
            <a:p>
              <a:pPr defTabSz="309371" hangingPunct="0">
                <a:spcBef>
                  <a:spcPts val="751"/>
                </a:spcBef>
              </a:pPr>
              <a:r>
                <a:rPr lang="en-US" sz="1600" b="1" kern="0" dirty="0">
                  <a:latin typeface="Calibri"/>
                  <a:cs typeface="Calibri"/>
                  <a:sym typeface="Calibri"/>
                </a:rPr>
                <a:t>Make the desired action the easiest action</a:t>
              </a:r>
            </a:p>
          </p:txBody>
        </p:sp>
        <p:sp>
          <p:nvSpPr>
            <p:cNvPr id="22" name="Shape 114"/>
            <p:cNvSpPr txBox="1">
              <a:spLocks/>
            </p:cNvSpPr>
            <p:nvPr/>
          </p:nvSpPr>
          <p:spPr>
            <a:xfrm>
              <a:off x="10036809" y="1077369"/>
              <a:ext cx="1541511" cy="4979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Autofit/>
            </a:bodyPr>
            <a:lstStyle>
              <a:lvl1pPr marL="0" marR="0" indent="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1pPr>
              <a:lvl2pPr marL="0" marR="0" indent="228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2pPr>
              <a:lvl3pPr marL="0" marR="0" indent="457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3pPr>
              <a:lvl4pPr marL="0" marR="0" indent="685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4pPr>
              <a:lvl5pPr marL="0" marR="0" indent="9144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5pPr>
              <a:lvl6pPr marL="0" marR="0" indent="11430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6pPr>
              <a:lvl7pPr marL="0" marR="0" indent="13716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7pPr>
              <a:lvl8pPr marL="0" marR="0" indent="16002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8pPr>
              <a:lvl9pPr marL="0" marR="0" indent="1828800" algn="l" defTabSz="825500" rtl="0" latinLnBrk="0">
                <a:lnSpc>
                  <a:spcPct val="90000"/>
                </a:lnSpc>
                <a:spcBef>
                  <a:spcPts val="0"/>
                </a:spcBef>
                <a:spcAft>
                  <a:spcPts val="0"/>
                </a:spcAft>
                <a:buClrTx/>
                <a:buSzTx/>
                <a:buFontTx/>
                <a:buNone/>
                <a:tabLst/>
                <a:defRPr sz="7000" b="1" i="0" u="none" strike="noStrike" cap="none" spc="0" baseline="0">
                  <a:ln>
                    <a:noFill/>
                  </a:ln>
                  <a:solidFill>
                    <a:srgbClr val="000000"/>
                  </a:solidFill>
                  <a:uFillTx/>
                  <a:latin typeface="+mj-lt"/>
                  <a:ea typeface="+mj-ea"/>
                  <a:cs typeface="+mj-cs"/>
                  <a:sym typeface="Calibri"/>
                </a:defRPr>
              </a:lvl9pPr>
            </a:lstStyle>
            <a:p>
              <a:pPr algn="r" defTabSz="309371" hangingPunct="0">
                <a:lnSpc>
                  <a:spcPct val="80000"/>
                </a:lnSpc>
              </a:pPr>
              <a:r>
                <a:rPr lang="en-US" sz="2400" kern="0" dirty="0">
                  <a:solidFill>
                    <a:srgbClr val="FFFFFF"/>
                  </a:solidFill>
                  <a:latin typeface="Calibri"/>
                  <a:cs typeface="Calibri"/>
                </a:rPr>
                <a:t>Reduce Barriers</a:t>
              </a:r>
            </a:p>
          </p:txBody>
        </p:sp>
      </p:grpSp>
    </p:spTree>
    <p:extLst>
      <p:ext uri="{BB962C8B-B14F-4D97-AF65-F5344CB8AC3E}">
        <p14:creationId xmlns:p14="http://schemas.microsoft.com/office/powerpoint/2010/main" val="1327441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99331"/>
            <a:ext cx="11437429" cy="400111"/>
          </a:xfrm>
        </p:spPr>
        <p:txBody>
          <a:bodyPr>
            <a:noAutofit/>
          </a:bodyPr>
          <a:lstStyle/>
          <a:p>
            <a:r>
              <a:rPr lang="en-US" sz="3200" dirty="0"/>
              <a:t>The vaccination behavior continuum</a:t>
            </a:r>
          </a:p>
        </p:txBody>
      </p:sp>
      <p:sp>
        <p:nvSpPr>
          <p:cNvPr id="5" name="Left-Right Arrow 4"/>
          <p:cNvSpPr/>
          <p:nvPr/>
        </p:nvSpPr>
        <p:spPr>
          <a:xfrm>
            <a:off x="1333758" y="3211286"/>
            <a:ext cx="9581767" cy="687151"/>
          </a:xfrm>
          <a:prstGeom prst="leftRightArrow">
            <a:avLst>
              <a:gd name="adj1" fmla="val 73220"/>
              <a:gd name="adj2" fmla="val 50000"/>
            </a:avLst>
          </a:prstGeom>
          <a:gradFill flip="none" rotWithShape="1">
            <a:gsLst>
              <a:gs pos="53000">
                <a:srgbClr val="00B050"/>
              </a:gs>
              <a:gs pos="100000">
                <a:srgbClr val="FF0000"/>
              </a:gs>
            </a:gsLst>
            <a:lin ang="0" scaled="1"/>
            <a:tileRect/>
          </a:gradFill>
          <a:ln w="9525">
            <a:solidFill>
              <a:schemeClr val="accent6"/>
            </a:solidFill>
          </a:ln>
          <a:scene3d>
            <a:camera prst="orthographicFront"/>
            <a:lightRig rig="threePt" dir="t"/>
          </a:scene3d>
          <a:sp3d>
            <a:bevelT w="254000" h="254000"/>
            <a:bevelB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dirty="0" err="1">
              <a:solidFill>
                <a:srgbClr val="000000"/>
              </a:solidFill>
            </a:endParaRPr>
          </a:p>
        </p:txBody>
      </p:sp>
      <p:sp>
        <p:nvSpPr>
          <p:cNvPr id="6" name="Left Brace 5"/>
          <p:cNvSpPr/>
          <p:nvPr/>
        </p:nvSpPr>
        <p:spPr>
          <a:xfrm rot="5400000">
            <a:off x="7920593" y="1616653"/>
            <a:ext cx="693471" cy="2422443"/>
          </a:xfrm>
          <a:prstGeom prst="leftBrace">
            <a:avLst>
              <a:gd name="adj1" fmla="val 8333"/>
              <a:gd name="adj2" fmla="val 48658"/>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eaLnBrk="0" fontAlgn="base" hangingPunct="0">
              <a:spcBef>
                <a:spcPct val="0"/>
              </a:spcBef>
              <a:spcAft>
                <a:spcPct val="0"/>
              </a:spcAft>
            </a:pPr>
            <a:endParaRPr lang="en-US" sz="3200">
              <a:solidFill>
                <a:srgbClr val="000000"/>
              </a:solidFill>
            </a:endParaRPr>
          </a:p>
        </p:txBody>
      </p:sp>
      <p:sp>
        <p:nvSpPr>
          <p:cNvPr id="7" name="Oval 6"/>
          <p:cNvSpPr/>
          <p:nvPr/>
        </p:nvSpPr>
        <p:spPr>
          <a:xfrm>
            <a:off x="9917251" y="3484687"/>
            <a:ext cx="204564" cy="150047"/>
          </a:xfrm>
          <a:prstGeom prst="ellipse">
            <a:avLst/>
          </a:prstGeom>
          <a:solidFill>
            <a:srgbClr val="FF0000"/>
          </a:solidFill>
          <a:ln w="9525">
            <a:solidFill>
              <a:schemeClr val="accent6"/>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dirty="0" err="1">
              <a:solidFill>
                <a:srgbClr val="000000"/>
              </a:solidFill>
            </a:endParaRPr>
          </a:p>
        </p:txBody>
      </p:sp>
      <p:cxnSp>
        <p:nvCxnSpPr>
          <p:cNvPr id="8" name="Straight Connector 7"/>
          <p:cNvCxnSpPr/>
          <p:nvPr/>
        </p:nvCxnSpPr>
        <p:spPr>
          <a:xfrm flipH="1">
            <a:off x="10009303" y="3634734"/>
            <a:ext cx="20459" cy="883901"/>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224404" y="1701441"/>
            <a:ext cx="4502130" cy="748795"/>
          </a:xfrm>
          <a:prstGeom prst="rect">
            <a:avLst/>
          </a:prstGeom>
          <a:noFill/>
        </p:spPr>
        <p:txBody>
          <a:bodyPr wrap="none" rtlCol="0">
            <a:spAutoFit/>
          </a:bodyPr>
          <a:lstStyle/>
          <a:p>
            <a:pPr algn="ctr" eaLnBrk="0" fontAlgn="base" hangingPunct="0">
              <a:spcBef>
                <a:spcPct val="0"/>
              </a:spcBef>
              <a:spcAft>
                <a:spcPct val="0"/>
              </a:spcAft>
            </a:pPr>
            <a:r>
              <a:rPr lang="en-US" sz="2133" b="1" dirty="0">
                <a:solidFill>
                  <a:srgbClr val="0071BA">
                    <a:lumMod val="75000"/>
                  </a:srgbClr>
                </a:solidFill>
              </a:rPr>
              <a:t>Vaccination hesitancy</a:t>
            </a:r>
            <a:r>
              <a:rPr lang="en-US" sz="2133" dirty="0">
                <a:solidFill>
                  <a:srgbClr val="0071BA">
                    <a:lumMod val="75000"/>
                  </a:srgbClr>
                </a:solidFill>
              </a:rPr>
              <a:t>: </a:t>
            </a:r>
          </a:p>
          <a:p>
            <a:pPr algn="ctr" eaLnBrk="0" fontAlgn="base" hangingPunct="0">
              <a:spcBef>
                <a:spcPct val="0"/>
              </a:spcBef>
              <a:spcAft>
                <a:spcPct val="0"/>
              </a:spcAft>
            </a:pPr>
            <a:r>
              <a:rPr lang="en-US" sz="2133" dirty="0">
                <a:solidFill>
                  <a:srgbClr val="0071BA">
                    <a:lumMod val="75000"/>
                  </a:srgbClr>
                </a:solidFill>
              </a:rPr>
              <a:t>Accept some, delay some, refuse some</a:t>
            </a:r>
          </a:p>
        </p:txBody>
      </p:sp>
      <p:sp>
        <p:nvSpPr>
          <p:cNvPr id="10" name="Oval 9"/>
          <p:cNvSpPr/>
          <p:nvPr/>
        </p:nvSpPr>
        <p:spPr>
          <a:xfrm>
            <a:off x="4772299" y="3498445"/>
            <a:ext cx="204564" cy="147287"/>
          </a:xfrm>
          <a:prstGeom prst="ellipse">
            <a:avLst/>
          </a:prstGeom>
          <a:gradFill flip="none" rotWithShape="1">
            <a:gsLst>
              <a:gs pos="0">
                <a:srgbClr val="92D050"/>
              </a:gs>
              <a:gs pos="83000">
                <a:schemeClr val="accent3">
                  <a:lumMod val="0"/>
                  <a:lumOff val="100000"/>
                </a:schemeClr>
              </a:gs>
              <a:gs pos="100000">
                <a:srgbClr val="FFFF00"/>
              </a:gs>
            </a:gsLst>
            <a:lin ang="2700000" scaled="1"/>
            <a:tileRect/>
          </a:gradFill>
          <a:ln w="9525">
            <a:solidFill>
              <a:schemeClr val="accent6"/>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dirty="0" err="1">
              <a:solidFill>
                <a:srgbClr val="000000"/>
              </a:solidFill>
            </a:endParaRPr>
          </a:p>
        </p:txBody>
      </p:sp>
      <p:cxnSp>
        <p:nvCxnSpPr>
          <p:cNvPr id="11" name="Straight Connector 10"/>
          <p:cNvCxnSpPr/>
          <p:nvPr/>
        </p:nvCxnSpPr>
        <p:spPr>
          <a:xfrm flipH="1">
            <a:off x="4860088" y="3661923"/>
            <a:ext cx="20459" cy="883901"/>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286383" y="4500410"/>
            <a:ext cx="1466299" cy="748795"/>
          </a:xfrm>
          <a:prstGeom prst="rect">
            <a:avLst/>
          </a:prstGeom>
          <a:noFill/>
        </p:spPr>
        <p:txBody>
          <a:bodyPr wrap="none" rtlCol="0">
            <a:spAutoFit/>
          </a:bodyPr>
          <a:lstStyle/>
          <a:p>
            <a:pPr algn="ctr" eaLnBrk="0" fontAlgn="base" hangingPunct="0">
              <a:spcBef>
                <a:spcPct val="0"/>
              </a:spcBef>
              <a:spcAft>
                <a:spcPct val="0"/>
              </a:spcAft>
            </a:pPr>
            <a:r>
              <a:rPr lang="en-US" sz="2133" b="1" dirty="0">
                <a:solidFill>
                  <a:srgbClr val="0071BA">
                    <a:lumMod val="75000"/>
                  </a:srgbClr>
                </a:solidFill>
              </a:rPr>
              <a:t>Refuse </a:t>
            </a:r>
          </a:p>
          <a:p>
            <a:pPr algn="ctr" eaLnBrk="0" fontAlgn="base" hangingPunct="0">
              <a:spcBef>
                <a:spcPct val="0"/>
              </a:spcBef>
              <a:spcAft>
                <a:spcPct val="0"/>
              </a:spcAft>
            </a:pPr>
            <a:r>
              <a:rPr lang="en-US" sz="2133" b="1" dirty="0">
                <a:solidFill>
                  <a:srgbClr val="0071BA">
                    <a:lumMod val="75000"/>
                  </a:srgbClr>
                </a:solidFill>
              </a:rPr>
              <a:t>all vaccines</a:t>
            </a:r>
            <a:endParaRPr lang="en-US" sz="2133" b="1" dirty="0">
              <a:solidFill>
                <a:srgbClr val="000000"/>
              </a:solidFill>
            </a:endParaRPr>
          </a:p>
        </p:txBody>
      </p:sp>
      <p:sp>
        <p:nvSpPr>
          <p:cNvPr id="13" name="TextBox 12"/>
          <p:cNvSpPr txBox="1"/>
          <p:nvPr/>
        </p:nvSpPr>
        <p:spPr>
          <a:xfrm>
            <a:off x="4116424" y="4508813"/>
            <a:ext cx="1487330" cy="748795"/>
          </a:xfrm>
          <a:prstGeom prst="rect">
            <a:avLst/>
          </a:prstGeom>
          <a:noFill/>
        </p:spPr>
        <p:txBody>
          <a:bodyPr wrap="none" rtlCol="0">
            <a:spAutoFit/>
          </a:bodyPr>
          <a:lstStyle/>
          <a:p>
            <a:pPr algn="ctr" eaLnBrk="0" fontAlgn="base" hangingPunct="0">
              <a:spcBef>
                <a:spcPct val="0"/>
              </a:spcBef>
              <a:spcAft>
                <a:spcPct val="0"/>
              </a:spcAft>
            </a:pPr>
            <a:r>
              <a:rPr lang="en-US" sz="2133" b="1" dirty="0">
                <a:solidFill>
                  <a:srgbClr val="0071BA">
                    <a:lumMod val="75000"/>
                  </a:srgbClr>
                </a:solidFill>
              </a:rPr>
              <a:t>Passive </a:t>
            </a:r>
          </a:p>
          <a:p>
            <a:pPr algn="ctr" eaLnBrk="0" fontAlgn="base" hangingPunct="0">
              <a:spcBef>
                <a:spcPct val="0"/>
              </a:spcBef>
              <a:spcAft>
                <a:spcPct val="0"/>
              </a:spcAft>
            </a:pPr>
            <a:r>
              <a:rPr lang="en-US" sz="2133" b="1" dirty="0">
                <a:solidFill>
                  <a:srgbClr val="0071BA">
                    <a:lumMod val="75000"/>
                  </a:srgbClr>
                </a:solidFill>
              </a:rPr>
              <a:t>Acceptance</a:t>
            </a:r>
            <a:endParaRPr lang="en-US" sz="2133" b="1" dirty="0">
              <a:solidFill>
                <a:srgbClr val="000000"/>
              </a:solidFill>
            </a:endParaRPr>
          </a:p>
        </p:txBody>
      </p:sp>
      <p:sp>
        <p:nvSpPr>
          <p:cNvPr id="14" name="Oval 13"/>
          <p:cNvSpPr/>
          <p:nvPr/>
        </p:nvSpPr>
        <p:spPr>
          <a:xfrm>
            <a:off x="1898353" y="3481218"/>
            <a:ext cx="196383" cy="147287"/>
          </a:xfrm>
          <a:prstGeom prst="ellipse">
            <a:avLst/>
          </a:prstGeom>
          <a:gradFill>
            <a:gsLst>
              <a:gs pos="0">
                <a:srgbClr val="00B050"/>
              </a:gs>
              <a:gs pos="100000">
                <a:srgbClr val="92D050"/>
              </a:gs>
            </a:gsLst>
            <a:lin ang="2700000" scaled="1"/>
          </a:gradFill>
          <a:ln w="9525">
            <a:solidFill>
              <a:schemeClr val="accent6"/>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dirty="0" err="1">
              <a:solidFill>
                <a:srgbClr val="000000"/>
              </a:solidFill>
            </a:endParaRPr>
          </a:p>
        </p:txBody>
      </p:sp>
      <p:cxnSp>
        <p:nvCxnSpPr>
          <p:cNvPr id="15" name="Straight Connector 14"/>
          <p:cNvCxnSpPr>
            <a:stCxn id="16" idx="2"/>
          </p:cNvCxnSpPr>
          <p:nvPr/>
        </p:nvCxnSpPr>
        <p:spPr>
          <a:xfrm flipH="1">
            <a:off x="1996545" y="3007551"/>
            <a:ext cx="20457" cy="473667"/>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405360" y="1930525"/>
            <a:ext cx="1223284" cy="1077026"/>
          </a:xfrm>
          <a:prstGeom prst="rect">
            <a:avLst/>
          </a:prstGeom>
          <a:noFill/>
        </p:spPr>
        <p:txBody>
          <a:bodyPr wrap="none" rtlCol="0">
            <a:spAutoFit/>
          </a:bodyPr>
          <a:lstStyle/>
          <a:p>
            <a:pPr algn="ctr" eaLnBrk="0" fontAlgn="base" hangingPunct="0">
              <a:spcBef>
                <a:spcPct val="0"/>
              </a:spcBef>
              <a:spcAft>
                <a:spcPct val="0"/>
              </a:spcAft>
            </a:pPr>
            <a:endParaRPr lang="en-US" sz="2133" b="1" dirty="0">
              <a:solidFill>
                <a:srgbClr val="0071BA">
                  <a:lumMod val="75000"/>
                </a:srgbClr>
              </a:solidFill>
            </a:endParaRPr>
          </a:p>
          <a:p>
            <a:pPr algn="ctr" eaLnBrk="0" fontAlgn="base" hangingPunct="0">
              <a:spcBef>
                <a:spcPct val="0"/>
              </a:spcBef>
              <a:spcAft>
                <a:spcPct val="0"/>
              </a:spcAft>
            </a:pPr>
            <a:r>
              <a:rPr lang="en-US" sz="2133" b="1" dirty="0">
                <a:solidFill>
                  <a:srgbClr val="0071BA">
                    <a:lumMod val="75000"/>
                  </a:srgbClr>
                </a:solidFill>
              </a:rPr>
              <a:t>Resilient </a:t>
            </a:r>
          </a:p>
          <a:p>
            <a:pPr algn="ctr" eaLnBrk="0" fontAlgn="base" hangingPunct="0">
              <a:spcBef>
                <a:spcPct val="0"/>
              </a:spcBef>
              <a:spcAft>
                <a:spcPct val="0"/>
              </a:spcAft>
            </a:pPr>
            <a:r>
              <a:rPr lang="en-US" sz="2133" b="1" dirty="0">
                <a:solidFill>
                  <a:srgbClr val="0071BA">
                    <a:lumMod val="75000"/>
                  </a:srgbClr>
                </a:solidFill>
              </a:rPr>
              <a:t>Demand</a:t>
            </a:r>
            <a:endParaRPr lang="en-US" sz="2133" b="1" dirty="0">
              <a:solidFill>
                <a:srgbClr val="000000"/>
              </a:solidFill>
            </a:endParaRPr>
          </a:p>
        </p:txBody>
      </p:sp>
      <p:sp>
        <p:nvSpPr>
          <p:cNvPr id="18" name="TextBox 17"/>
          <p:cNvSpPr txBox="1"/>
          <p:nvPr/>
        </p:nvSpPr>
        <p:spPr>
          <a:xfrm>
            <a:off x="1178145" y="6525346"/>
            <a:ext cx="10870519" cy="338554"/>
          </a:xfrm>
          <a:prstGeom prst="rect">
            <a:avLst/>
          </a:prstGeom>
          <a:noFill/>
        </p:spPr>
        <p:txBody>
          <a:bodyPr wrap="square" rtlCol="0">
            <a:spAutoFit/>
          </a:bodyPr>
          <a:lstStyle/>
          <a:p>
            <a:pPr algn="r" eaLnBrk="0" fontAlgn="base" hangingPunct="0">
              <a:spcBef>
                <a:spcPct val="0"/>
              </a:spcBef>
              <a:spcAft>
                <a:spcPct val="0"/>
              </a:spcAft>
            </a:pPr>
            <a:r>
              <a:rPr lang="en-US" sz="1600" dirty="0">
                <a:solidFill>
                  <a:schemeClr val="bg1"/>
                </a:solidFill>
              </a:rPr>
              <a:t>Source: GVAP Strategic Objective 2 Working Group</a:t>
            </a:r>
          </a:p>
        </p:txBody>
      </p:sp>
    </p:spTree>
    <p:extLst>
      <p:ext uri="{BB962C8B-B14F-4D97-AF65-F5344CB8AC3E}">
        <p14:creationId xmlns:p14="http://schemas.microsoft.com/office/powerpoint/2010/main" val="17664326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I96685.jpg"/>
          <p:cNvPicPr>
            <a:picLocks noChangeAspect="1"/>
          </p:cNvPicPr>
          <p:nvPr/>
        </p:nvPicPr>
        <p:blipFill>
          <a:blip r:embed="rId2"/>
          <a:srcRect l="12520" t="1053" b="244"/>
          <a:stretch>
            <a:fillRect/>
          </a:stretch>
        </p:blipFill>
        <p:spPr>
          <a:xfrm>
            <a:off x="0" y="0"/>
            <a:ext cx="12192000" cy="8166969"/>
          </a:xfrm>
          <a:prstGeom prst="rect">
            <a:avLst/>
          </a:prstGeom>
        </p:spPr>
      </p:pic>
      <p:sp>
        <p:nvSpPr>
          <p:cNvPr id="30" name="Text Box 27"/>
          <p:cNvSpPr txBox="1">
            <a:spLocks noChangeArrowheads="1"/>
          </p:cNvSpPr>
          <p:nvPr/>
        </p:nvSpPr>
        <p:spPr bwMode="auto">
          <a:xfrm>
            <a:off x="6375400" y="6015794"/>
            <a:ext cx="5681138" cy="1138773"/>
          </a:xfrm>
          <a:prstGeom prst="rect">
            <a:avLst/>
          </a:prstGeom>
          <a:noFill/>
          <a:ln w="9525">
            <a:noFill/>
            <a:miter lim="800000"/>
            <a:headEnd/>
            <a:tailEnd/>
          </a:ln>
        </p:spPr>
        <p:txBody>
          <a:bodyPr wrap="square">
            <a:prstTxWarp prst="textNoShape">
              <a:avLst/>
            </a:prstTxWarp>
            <a:spAutoFit/>
          </a:bodyPr>
          <a:lstStyle/>
          <a:p>
            <a:r>
              <a:rPr lang="en-US" sz="4000" i="1" dirty="0">
                <a:solidFill>
                  <a:schemeClr val="bg1"/>
                </a:solidFill>
              </a:rPr>
              <a:t>Country experiences</a:t>
            </a:r>
          </a:p>
          <a:p>
            <a:endParaRPr lang="en-US" sz="2800" dirty="0">
              <a:solidFill>
                <a:schemeClr val="bg1"/>
              </a:solidFill>
            </a:endParaRPr>
          </a:p>
        </p:txBody>
      </p:sp>
      <p:cxnSp>
        <p:nvCxnSpPr>
          <p:cNvPr id="14" name="Straight Connector 13"/>
          <p:cNvCxnSpPr/>
          <p:nvPr/>
        </p:nvCxnSpPr>
        <p:spPr>
          <a:xfrm>
            <a:off x="6375400" y="6765626"/>
            <a:ext cx="5816600" cy="1588"/>
          </a:xfrm>
          <a:prstGeom prst="line">
            <a:avLst/>
          </a:prstGeom>
          <a:ln w="50800" cap="flat" cmpd="sng" algn="ctr">
            <a:solidFill>
              <a:srgbClr val="0099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1427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D08B218-7833-41E4-974D-69F497C65C9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DB9F9438-D9C1-4070-8D48-2016B0A11DE7}"/>
              </a:ext>
            </a:extLst>
          </p:cNvPr>
          <p:cNvSpPr/>
          <p:nvPr/>
        </p:nvSpPr>
        <p:spPr>
          <a:xfrm>
            <a:off x="-526063" y="1005971"/>
            <a:ext cx="12374761" cy="535531"/>
          </a:xfrm>
          <a:prstGeom prst="rect">
            <a:avLst/>
          </a:prstGeom>
        </p:spPr>
        <p:txBody>
          <a:bodyPr wrap="square">
            <a:spAutoFit/>
          </a:bodyPr>
          <a:lstStyle/>
          <a:p>
            <a:pPr defTabSz="913286">
              <a:lnSpc>
                <a:spcPct val="90000"/>
              </a:lnSpc>
              <a:spcBef>
                <a:spcPct val="0"/>
              </a:spcBef>
            </a:pPr>
            <a:r>
              <a:rPr lang="en-US" altLang="en-US" sz="3200" b="1" dirty="0">
                <a:latin typeface="+mj-lt"/>
                <a:ea typeface="+mj-ea"/>
                <a:cs typeface="+mj-cs"/>
              </a:rPr>
              <a:t>	</a:t>
            </a:r>
            <a:r>
              <a:rPr lang="en-US" altLang="en-US" sz="2400" dirty="0">
                <a:latin typeface="+mj-lt"/>
                <a:ea typeface="+mj-ea"/>
                <a:cs typeface="+mj-cs"/>
              </a:rPr>
              <a:t>In spite of substantial supply-side investments overall coverage is flat……time to re-focus?</a:t>
            </a:r>
            <a:endParaRPr lang="en-GB" sz="2400" dirty="0">
              <a:latin typeface="+mj-lt"/>
              <a:ea typeface="+mj-ea"/>
              <a:cs typeface="+mj-cs"/>
            </a:endParaRPr>
          </a:p>
        </p:txBody>
      </p:sp>
      <p:sp>
        <p:nvSpPr>
          <p:cNvPr id="17" name="Rectangle 16">
            <a:extLst>
              <a:ext uri="{FF2B5EF4-FFF2-40B4-BE49-F238E27FC236}">
                <a16:creationId xmlns:a16="http://schemas.microsoft.com/office/drawing/2014/main" id="{8B3105C6-DC1D-4E68-BD8F-B0A3E70C6E25}"/>
              </a:ext>
            </a:extLst>
          </p:cNvPr>
          <p:cNvSpPr/>
          <p:nvPr/>
        </p:nvSpPr>
        <p:spPr>
          <a:xfrm>
            <a:off x="8856606" y="2907446"/>
            <a:ext cx="3200436" cy="15696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00"/>
              </a:solidFill>
            </a:endParaRPr>
          </a:p>
        </p:txBody>
      </p:sp>
      <p:pic>
        <p:nvPicPr>
          <p:cNvPr id="18" name="Graphic 17">
            <a:extLst>
              <a:ext uri="{FF2B5EF4-FFF2-40B4-BE49-F238E27FC236}">
                <a16:creationId xmlns:a16="http://schemas.microsoft.com/office/drawing/2014/main" id="{F1FC2B0E-8055-466D-A0D4-DD4C0A73A0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6025" y="3237221"/>
            <a:ext cx="842735" cy="842735"/>
          </a:xfrm>
          <a:prstGeom prst="rect">
            <a:avLst/>
          </a:prstGeom>
        </p:spPr>
      </p:pic>
      <p:sp>
        <p:nvSpPr>
          <p:cNvPr id="19" name="TextBox 18">
            <a:extLst>
              <a:ext uri="{FF2B5EF4-FFF2-40B4-BE49-F238E27FC236}">
                <a16:creationId xmlns:a16="http://schemas.microsoft.com/office/drawing/2014/main" id="{0B0E20FA-232D-49FA-82EF-18C44A1E681E}"/>
              </a:ext>
            </a:extLst>
          </p:cNvPr>
          <p:cNvSpPr txBox="1"/>
          <p:nvPr/>
        </p:nvSpPr>
        <p:spPr>
          <a:xfrm>
            <a:off x="9531201" y="3153666"/>
            <a:ext cx="2525841" cy="1323439"/>
          </a:xfrm>
          <a:prstGeom prst="rect">
            <a:avLst/>
          </a:prstGeom>
          <a:noFill/>
        </p:spPr>
        <p:txBody>
          <a:bodyPr wrap="square" rtlCol="0">
            <a:spAutoFit/>
          </a:bodyPr>
          <a:lstStyle/>
          <a:p>
            <a:r>
              <a:rPr lang="en-GB" sz="1600" dirty="0"/>
              <a:t>In some regions with higher # of MICS immunization programmes are struggling to maintain coverage</a:t>
            </a:r>
          </a:p>
          <a:p>
            <a:endParaRPr lang="en-GB" sz="1600" dirty="0">
              <a:solidFill>
                <a:srgbClr val="FFFF00"/>
              </a:solidFill>
            </a:endParaRPr>
          </a:p>
        </p:txBody>
      </p:sp>
      <p:graphicFrame>
        <p:nvGraphicFramePr>
          <p:cNvPr id="14" name="Chart 13">
            <a:extLst>
              <a:ext uri="{FF2B5EF4-FFF2-40B4-BE49-F238E27FC236}">
                <a16:creationId xmlns:a16="http://schemas.microsoft.com/office/drawing/2014/main" id="{C1AF9EF3-1264-419A-BA9F-6D01C4A96CE9}"/>
              </a:ext>
            </a:extLst>
          </p:cNvPr>
          <p:cNvGraphicFramePr/>
          <p:nvPr>
            <p:extLst>
              <p:ext uri="{D42A27DB-BD31-4B8C-83A1-F6EECF244321}">
                <p14:modId xmlns:p14="http://schemas.microsoft.com/office/powerpoint/2010/main" val="1073908172"/>
              </p:ext>
            </p:extLst>
          </p:nvPr>
        </p:nvGraphicFramePr>
        <p:xfrm>
          <a:off x="473212" y="1620456"/>
          <a:ext cx="8466173" cy="5237545"/>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8">
            <a:extLst>
              <a:ext uri="{FF2B5EF4-FFF2-40B4-BE49-F238E27FC236}">
                <a16:creationId xmlns:a16="http://schemas.microsoft.com/office/drawing/2014/main" id="{4FC16E44-204D-46E6-B7C9-82BF9F2F7B10}"/>
              </a:ext>
            </a:extLst>
          </p:cNvPr>
          <p:cNvSpPr/>
          <p:nvPr/>
        </p:nvSpPr>
        <p:spPr>
          <a:xfrm>
            <a:off x="203330" y="166789"/>
            <a:ext cx="8612695" cy="584775"/>
          </a:xfrm>
          <a:prstGeom prst="rect">
            <a:avLst/>
          </a:prstGeom>
        </p:spPr>
        <p:txBody>
          <a:bodyPr wrap="square" anchor="t">
            <a:spAutoFit/>
          </a:bodyPr>
          <a:lstStyle/>
          <a:p>
            <a:r>
              <a:rPr lang="en-US" sz="3200" dirty="0">
                <a:latin typeface="+mj-lt"/>
                <a:ea typeface="+mj-ea"/>
                <a:cs typeface="+mj-cs"/>
              </a:rPr>
              <a:t>The Challenge</a:t>
            </a:r>
          </a:p>
        </p:txBody>
      </p:sp>
    </p:spTree>
    <p:extLst>
      <p:ext uri="{BB962C8B-B14F-4D97-AF65-F5344CB8AC3E}">
        <p14:creationId xmlns:p14="http://schemas.microsoft.com/office/powerpoint/2010/main" val="106835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9748" name="think-cell Slide" r:id="rId572" imgW="360" imgH="360" progId="TCLayout.ActiveDocument.1">
                  <p:embed/>
                </p:oleObj>
              </mc:Choice>
              <mc:Fallback>
                <p:oleObj name="think-cell Slide" r:id="rId572" imgW="360" imgH="360" progId="TCLayout.ActiveDocument.1">
                  <p:embed/>
                  <p:pic>
                    <p:nvPicPr>
                      <p:cNvPr id="9" name="Object 8" hidden="1"/>
                      <p:cNvPicPr>
                        <a:picLocks noChangeAspect="1" noChangeArrowheads="1"/>
                      </p:cNvPicPr>
                      <p:nvPr/>
                    </p:nvPicPr>
                    <p:blipFill>
                      <a:blip r:embed="rId573">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88"/>
          <p:cNvGrpSpPr/>
          <p:nvPr/>
        </p:nvGrpSpPr>
        <p:grpSpPr>
          <a:xfrm>
            <a:off x="1524004" y="-743849"/>
            <a:ext cx="9126743" cy="7601849"/>
            <a:chOff x="0" y="-743849"/>
            <a:chExt cx="9126743" cy="7601849"/>
          </a:xfrm>
        </p:grpSpPr>
        <p:sp>
          <p:nvSpPr>
            <p:cNvPr id="87" name="Rectangle 5"/>
            <p:cNvSpPr>
              <a:spLocks noChangeArrowheads="1"/>
            </p:cNvSpPr>
            <p:nvPr>
              <p:custDataLst>
                <p:tags r:id="rId491"/>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26" name="Rounded Rectangle 25"/>
            <p:cNvSpPr/>
            <p:nvPr>
              <p:custDataLst>
                <p:tags r:id="rId492"/>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451" name="Rectangle 5"/>
            <p:cNvSpPr>
              <a:spLocks noChangeArrowheads="1"/>
            </p:cNvSpPr>
            <p:nvPr>
              <p:custDataLst>
                <p:tags r:id="rId493"/>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454" name="Rectangle 5"/>
            <p:cNvSpPr>
              <a:spLocks noChangeArrowheads="1"/>
            </p:cNvSpPr>
            <p:nvPr>
              <p:custDataLst>
                <p:tags r:id="rId494"/>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456" name="Rectangle 5"/>
            <p:cNvSpPr>
              <a:spLocks noChangeArrowheads="1"/>
            </p:cNvSpPr>
            <p:nvPr>
              <p:custDataLst>
                <p:tags r:id="rId495"/>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746" name="Rectangle 5"/>
            <p:cNvSpPr>
              <a:spLocks noChangeArrowheads="1"/>
            </p:cNvSpPr>
            <p:nvPr>
              <p:custDataLst>
                <p:tags r:id="rId496"/>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747" name="Rectangle 5"/>
            <p:cNvSpPr>
              <a:spLocks noChangeArrowheads="1"/>
            </p:cNvSpPr>
            <p:nvPr>
              <p:custDataLst>
                <p:tags r:id="rId497"/>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7" name="Chord 6"/>
            <p:cNvSpPr/>
            <p:nvPr>
              <p:custDataLst>
                <p:tags r:id="rId498"/>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 name="Chord 4"/>
            <p:cNvSpPr/>
            <p:nvPr>
              <p:custDataLst>
                <p:tags r:id="rId499"/>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4" name="Chord 3"/>
            <p:cNvSpPr/>
            <p:nvPr>
              <p:custDataLst>
                <p:tags r:id="rId500"/>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 name="Chord 5"/>
            <p:cNvSpPr/>
            <p:nvPr>
              <p:custDataLst>
                <p:tags r:id="rId501"/>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43" name="Straight Connector 42"/>
            <p:cNvCxnSpPr/>
            <p:nvPr>
              <p:custDataLst>
                <p:tags r:id="rId502"/>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50" name="Straight Connector 49"/>
            <p:cNvCxnSpPr/>
            <p:nvPr>
              <p:custDataLst>
                <p:tags r:id="rId503"/>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59" name="Rectangle 5"/>
            <p:cNvSpPr>
              <a:spLocks noChangeArrowheads="1"/>
            </p:cNvSpPr>
            <p:nvPr>
              <p:custDataLst>
                <p:tags r:id="rId504"/>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63" name="Rectangle 5"/>
            <p:cNvSpPr>
              <a:spLocks noChangeArrowheads="1"/>
            </p:cNvSpPr>
            <p:nvPr>
              <p:custDataLst>
                <p:tags r:id="rId505"/>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64" name="Rectangle 5"/>
            <p:cNvSpPr>
              <a:spLocks noChangeArrowheads="1"/>
            </p:cNvSpPr>
            <p:nvPr>
              <p:custDataLst>
                <p:tags r:id="rId506"/>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89" name="Straight Connector 88"/>
            <p:cNvCxnSpPr/>
            <p:nvPr>
              <p:custDataLst>
                <p:tags r:id="rId507"/>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91" name="Rectangle 5"/>
            <p:cNvSpPr>
              <a:spLocks noChangeArrowheads="1"/>
            </p:cNvSpPr>
            <p:nvPr>
              <p:custDataLst>
                <p:tags r:id="rId508"/>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97" name="Rectangle 5"/>
            <p:cNvSpPr>
              <a:spLocks noChangeArrowheads="1"/>
            </p:cNvSpPr>
            <p:nvPr>
              <p:custDataLst>
                <p:tags r:id="rId509"/>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142" name="Straight Connector 141"/>
            <p:cNvCxnSpPr/>
            <p:nvPr>
              <p:custDataLst>
                <p:tags r:id="rId510"/>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146" name="Straight Connector 145"/>
            <p:cNvCxnSpPr/>
            <p:nvPr>
              <p:custDataLst>
                <p:tags r:id="rId511"/>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153" name="Rectangle 5"/>
            <p:cNvSpPr>
              <a:spLocks noChangeArrowheads="1"/>
            </p:cNvSpPr>
            <p:nvPr>
              <p:custDataLst>
                <p:tags r:id="rId512"/>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154" name="Rectangle 5"/>
            <p:cNvSpPr>
              <a:spLocks noChangeArrowheads="1"/>
            </p:cNvSpPr>
            <p:nvPr>
              <p:custDataLst>
                <p:tags r:id="rId513"/>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155" name="Picture 5"/>
            <p:cNvPicPr>
              <a:picLocks noChangeAspect="1" noChangeArrowheads="1"/>
            </p:cNvPicPr>
            <p:nvPr>
              <p:custDataLst>
                <p:tags r:id="rId514"/>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274" name="Rectangle 5"/>
            <p:cNvSpPr>
              <a:spLocks noChangeArrowheads="1"/>
            </p:cNvSpPr>
            <p:nvPr>
              <p:custDataLst>
                <p:tags r:id="rId515"/>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276" name="Straight Connector 275"/>
            <p:cNvCxnSpPr/>
            <p:nvPr>
              <p:custDataLst>
                <p:tags r:id="rId516"/>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278" name="Rectangle 5"/>
            <p:cNvSpPr>
              <a:spLocks noChangeArrowheads="1"/>
            </p:cNvSpPr>
            <p:nvPr>
              <p:custDataLst>
                <p:tags r:id="rId517"/>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280" name="Rectangle 5"/>
            <p:cNvSpPr>
              <a:spLocks noChangeArrowheads="1"/>
            </p:cNvSpPr>
            <p:nvPr>
              <p:custDataLst>
                <p:tags r:id="rId518"/>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291" name="Rectangle 5"/>
            <p:cNvSpPr>
              <a:spLocks noChangeArrowheads="1"/>
            </p:cNvSpPr>
            <p:nvPr>
              <p:custDataLst>
                <p:tags r:id="rId519"/>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3" name="Group 927"/>
            <p:cNvGrpSpPr/>
            <p:nvPr>
              <p:custDataLst>
                <p:tags r:id="rId520"/>
              </p:custDataLst>
            </p:nvPr>
          </p:nvGrpSpPr>
          <p:grpSpPr>
            <a:xfrm>
              <a:off x="2375776" y="2430017"/>
              <a:ext cx="532015" cy="444343"/>
              <a:chOff x="5085316" y="2082799"/>
              <a:chExt cx="777013" cy="639762"/>
            </a:xfrm>
          </p:grpSpPr>
          <p:sp>
            <p:nvSpPr>
              <p:cNvPr id="293" name="Freeform 25"/>
              <p:cNvSpPr>
                <a:spLocks noChangeAspect="1"/>
              </p:cNvSpPr>
              <p:nvPr>
                <p:custDataLst>
                  <p:tags r:id="rId569"/>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294"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295"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296"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297" name="Rectangle 5"/>
            <p:cNvSpPr>
              <a:spLocks noChangeArrowheads="1"/>
            </p:cNvSpPr>
            <p:nvPr>
              <p:custDataLst>
                <p:tags r:id="rId521"/>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312" name="Rectangle 5"/>
            <p:cNvSpPr>
              <a:spLocks noChangeArrowheads="1"/>
            </p:cNvSpPr>
            <p:nvPr>
              <p:custDataLst>
                <p:tags r:id="rId522"/>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281" name="Rectangle 5"/>
            <p:cNvSpPr>
              <a:spLocks noChangeArrowheads="1"/>
            </p:cNvSpPr>
            <p:nvPr>
              <p:custDataLst>
                <p:tags r:id="rId523"/>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273" name="Rectangle 5"/>
            <p:cNvSpPr>
              <a:spLocks noChangeArrowheads="1"/>
            </p:cNvSpPr>
            <p:nvPr>
              <p:custDataLst>
                <p:tags r:id="rId524"/>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420" name="Picture 21"/>
            <p:cNvPicPr>
              <a:picLocks noChangeAspect="1" noChangeArrowheads="1"/>
            </p:cNvPicPr>
            <p:nvPr>
              <p:custDataLst>
                <p:tags r:id="rId525"/>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275" name="Rectangle 5"/>
            <p:cNvSpPr>
              <a:spLocks noChangeArrowheads="1"/>
            </p:cNvSpPr>
            <p:nvPr>
              <p:custDataLst>
                <p:tags r:id="rId526"/>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421" name="Picture 5"/>
            <p:cNvPicPr>
              <a:picLocks noChangeAspect="1" noChangeArrowheads="1"/>
            </p:cNvPicPr>
            <p:nvPr>
              <p:custDataLst>
                <p:tags r:id="rId527"/>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409" name="Straight Connector 408"/>
            <p:cNvCxnSpPr/>
            <p:nvPr>
              <p:custDataLst>
                <p:tags r:id="rId528"/>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414" name="Rectangle 5"/>
            <p:cNvSpPr>
              <a:spLocks noChangeArrowheads="1"/>
            </p:cNvSpPr>
            <p:nvPr>
              <p:custDataLst>
                <p:tags r:id="rId529"/>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427" name="Rectangle 5"/>
            <p:cNvSpPr>
              <a:spLocks noChangeArrowheads="1"/>
            </p:cNvSpPr>
            <p:nvPr>
              <p:custDataLst>
                <p:tags r:id="rId530"/>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8" name="Group 435"/>
            <p:cNvGrpSpPr/>
            <p:nvPr>
              <p:custDataLst>
                <p:tags r:id="rId531"/>
              </p:custDataLst>
            </p:nvPr>
          </p:nvGrpSpPr>
          <p:grpSpPr>
            <a:xfrm>
              <a:off x="5851932" y="2523591"/>
              <a:ext cx="249647" cy="251917"/>
              <a:chOff x="7230319" y="326252"/>
              <a:chExt cx="506784" cy="510648"/>
            </a:xfrm>
          </p:grpSpPr>
          <p:pic>
            <p:nvPicPr>
              <p:cNvPr id="428" name="Picture 5"/>
              <p:cNvPicPr>
                <a:picLocks noChangeAspect="1" noChangeArrowheads="1"/>
              </p:cNvPicPr>
              <p:nvPr>
                <p:custDataLst>
                  <p:tags r:id="rId563"/>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429" name="Picture 17"/>
              <p:cNvPicPr>
                <a:picLocks noChangeAspect="1" noChangeArrowheads="1"/>
              </p:cNvPicPr>
              <p:nvPr>
                <p:custDataLst>
                  <p:tags r:id="rId564"/>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432" name="Picture 17"/>
              <p:cNvPicPr>
                <a:picLocks noChangeAspect="1" noChangeArrowheads="1"/>
              </p:cNvPicPr>
              <p:nvPr>
                <p:custDataLst>
                  <p:tags r:id="rId565"/>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433" name="Picture 5"/>
              <p:cNvPicPr>
                <a:picLocks noChangeAspect="1" noChangeArrowheads="1"/>
              </p:cNvPicPr>
              <p:nvPr>
                <p:custDataLst>
                  <p:tags r:id="rId566"/>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434" name="Picture 17"/>
              <p:cNvPicPr>
                <a:picLocks noChangeAspect="1" noChangeArrowheads="1"/>
              </p:cNvPicPr>
              <p:nvPr>
                <p:custDataLst>
                  <p:tags r:id="rId567"/>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435" name="Picture 5"/>
              <p:cNvPicPr>
                <a:picLocks noChangeAspect="1" noChangeArrowheads="1"/>
              </p:cNvPicPr>
              <p:nvPr>
                <p:custDataLst>
                  <p:tags r:id="rId568"/>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38" name="Rectangle 5"/>
            <p:cNvSpPr>
              <a:spLocks noChangeArrowheads="1"/>
            </p:cNvSpPr>
            <p:nvPr>
              <p:custDataLst>
                <p:tags r:id="rId532"/>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92167" name="Picture 7" descr="C:\Users\mattha\AppData\Local\Microsoft\Windows\Temporary Internet Files\Content.IE5\A0YJT0Y2\MC900368410[1].wmf"/>
            <p:cNvPicPr>
              <a:picLocks noChangeAspect="1" noChangeArrowheads="1"/>
            </p:cNvPicPr>
            <p:nvPr>
              <p:custDataLst>
                <p:tags r:id="rId533"/>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92169" name="Picture 9" descr="C:\Users\mattha\AppData\Local\Microsoft\Windows\Temporary Internet Files\Content.IE5\WZUD8JML\MC900286861[1].wmf"/>
            <p:cNvPicPr>
              <a:picLocks noChangeAspect="1" noChangeArrowheads="1"/>
            </p:cNvPicPr>
            <p:nvPr>
              <p:custDataLst>
                <p:tags r:id="rId534"/>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92175" name="Picture 15" descr="C:\Users\mattha\AppData\Local\Microsoft\Windows\Temporary Internet Files\Content.IE5\6RMOFZA8\MC900434820[1].png"/>
            <p:cNvPicPr>
              <a:picLocks noChangeAspect="1" noChangeArrowheads="1"/>
            </p:cNvPicPr>
            <p:nvPr>
              <p:custDataLst>
                <p:tags r:id="rId535"/>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325" name="Rectangle 5"/>
            <p:cNvSpPr>
              <a:spLocks noChangeArrowheads="1"/>
            </p:cNvSpPr>
            <p:nvPr>
              <p:custDataLst>
                <p:tags r:id="rId536"/>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92187" name="Picture 27" descr="C:\Users\mattha\AppData\Local\Microsoft\Windows\Temporary Internet Files\Content.IE5\DT8ZIQ2F\MC900434829[1].png"/>
            <p:cNvPicPr>
              <a:picLocks noChangeAspect="1" noChangeArrowheads="1"/>
            </p:cNvPicPr>
            <p:nvPr>
              <p:custDataLst>
                <p:tags r:id="rId537"/>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92195" name="Picture 35" descr="C:\Users\mattha\AppData\Local\Microsoft\Windows\Temporary Internet Files\Content.IE5\GIPOTG0L\MC900389208[1].wmf"/>
            <p:cNvPicPr>
              <a:picLocks noChangeAspect="1" noChangeArrowheads="1"/>
            </p:cNvPicPr>
            <p:nvPr>
              <p:custDataLst>
                <p:tags r:id="rId538"/>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410" name="Picture 5"/>
            <p:cNvPicPr>
              <a:picLocks noChangeAspect="1" noChangeArrowheads="1"/>
            </p:cNvPicPr>
            <p:nvPr>
              <p:custDataLst>
                <p:tags r:id="rId539"/>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92208" name="Picture 48" descr="C:\Users\mattha\AppData\Local\Microsoft\Windows\Temporary Internet Files\Content.IE5\2H1X03YN\MC900431595[1].png"/>
            <p:cNvPicPr>
              <a:picLocks noChangeAspect="1" noChangeArrowheads="1"/>
            </p:cNvPicPr>
            <p:nvPr>
              <p:custDataLst>
                <p:tags r:id="rId540"/>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92210" name="Picture 50" descr="C:\Users\mattha\AppData\Local\Microsoft\Windows\Temporary Internet Files\Content.IE5\DT8ZIQ2F\MC900389384[1].wmf"/>
            <p:cNvPicPr>
              <a:picLocks noChangeAspect="1" noChangeArrowheads="1"/>
            </p:cNvPicPr>
            <p:nvPr>
              <p:custDataLst>
                <p:tags r:id="rId541"/>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92213" name="Picture 53" descr="C:\Users\mattha\AppData\Local\Microsoft\Windows\Temporary Internet Files\Content.IE5\GIPOTG0L\MC900039023[1].wmf"/>
            <p:cNvPicPr>
              <a:picLocks noChangeAspect="1" noChangeArrowheads="1"/>
            </p:cNvPicPr>
            <p:nvPr>
              <p:custDataLst>
                <p:tags r:id="rId542"/>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92214" name="Picture 54" descr="C:\Users\mattha\AppData\Local\Microsoft\Windows\Temporary Internet Files\Content.IE5\GIPOTG0L\MC900431584[1].png"/>
            <p:cNvPicPr>
              <a:picLocks noChangeAspect="1" noChangeArrowheads="1"/>
            </p:cNvPicPr>
            <p:nvPr>
              <p:custDataLst>
                <p:tags r:id="rId543"/>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92217" name="Picture 57" descr="C:\Users\mattha\AppData\Local\Microsoft\Windows\Temporary Internet Files\Content.IE5\GIPOTG0L\MC900412770[1].wmf"/>
            <p:cNvPicPr>
              <a:picLocks noChangeAspect="1" noChangeArrowheads="1"/>
            </p:cNvPicPr>
            <p:nvPr>
              <p:custDataLst>
                <p:tags r:id="rId544"/>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92226" name="Picture 66" descr="C:\Users\mattha\AppData\Local\Microsoft\Windows\Temporary Internet Files\Content.IE5\GIPOTG0L\MC900442092[1].wmf"/>
            <p:cNvPicPr>
              <a:picLocks noChangeAspect="1" noChangeArrowheads="1"/>
            </p:cNvPicPr>
            <p:nvPr>
              <p:custDataLst>
                <p:tags r:id="rId545"/>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40"/>
            <p:cNvGrpSpPr/>
            <p:nvPr>
              <p:custDataLst>
                <p:tags r:id="rId546"/>
              </p:custDataLst>
            </p:nvPr>
          </p:nvGrpSpPr>
          <p:grpSpPr>
            <a:xfrm>
              <a:off x="5244368" y="2613724"/>
              <a:ext cx="249647" cy="251917"/>
              <a:chOff x="7230319" y="326252"/>
              <a:chExt cx="506784" cy="510648"/>
            </a:xfrm>
          </p:grpSpPr>
          <p:pic>
            <p:nvPicPr>
              <p:cNvPr id="442" name="Picture 5"/>
              <p:cNvPicPr>
                <a:picLocks noChangeAspect="1" noChangeArrowheads="1"/>
              </p:cNvPicPr>
              <p:nvPr>
                <p:custDataLst>
                  <p:tags r:id="rId557"/>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443" name="Picture 17"/>
              <p:cNvPicPr>
                <a:picLocks noChangeAspect="1" noChangeArrowheads="1"/>
              </p:cNvPicPr>
              <p:nvPr>
                <p:custDataLst>
                  <p:tags r:id="rId558"/>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444" name="Picture 17"/>
              <p:cNvPicPr>
                <a:picLocks noChangeAspect="1" noChangeArrowheads="1"/>
              </p:cNvPicPr>
              <p:nvPr>
                <p:custDataLst>
                  <p:tags r:id="rId559"/>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445" name="Picture 5"/>
              <p:cNvPicPr>
                <a:picLocks noChangeAspect="1" noChangeArrowheads="1"/>
              </p:cNvPicPr>
              <p:nvPr>
                <p:custDataLst>
                  <p:tags r:id="rId560"/>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446" name="Picture 17"/>
              <p:cNvPicPr>
                <a:picLocks noChangeAspect="1" noChangeArrowheads="1"/>
              </p:cNvPicPr>
              <p:nvPr>
                <p:custDataLst>
                  <p:tags r:id="rId561"/>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447" name="Picture 5"/>
              <p:cNvPicPr>
                <a:picLocks noChangeAspect="1" noChangeArrowheads="1"/>
              </p:cNvPicPr>
              <p:nvPr>
                <p:custDataLst>
                  <p:tags r:id="rId562"/>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57" name="Rectangle 5"/>
            <p:cNvSpPr>
              <a:spLocks noChangeArrowheads="1"/>
            </p:cNvSpPr>
            <p:nvPr>
              <p:custDataLst>
                <p:tags r:id="rId547"/>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40" name="TextBox 39"/>
            <p:cNvSpPr txBox="1"/>
            <p:nvPr>
              <p:custDataLst>
                <p:tags r:id="rId548"/>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541" name="Picture 5"/>
            <p:cNvPicPr>
              <a:picLocks noChangeAspect="1" noChangeArrowheads="1"/>
            </p:cNvPicPr>
            <p:nvPr>
              <p:custDataLst>
                <p:tags r:id="rId549"/>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92247" name="Picture 87" descr="C:\Users\mattha\AppData\Local\Microsoft\Windows\Temporary Internet Files\Content.IE5\DT8ZIQ2F\MC910216326[1].png"/>
            <p:cNvPicPr>
              <a:picLocks noChangeAspect="1" noChangeArrowheads="1"/>
            </p:cNvPicPr>
            <p:nvPr>
              <p:custDataLst>
                <p:tags r:id="rId550"/>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141316" name="Picture 4" descr="Data Chart Clip Art"/>
            <p:cNvPicPr>
              <a:picLocks noChangeAspect="1" noChangeArrowheads="1"/>
            </p:cNvPicPr>
            <p:nvPr>
              <p:custDataLst>
                <p:tags r:id="rId551"/>
              </p:custDataLst>
            </p:nvPr>
          </p:nvPicPr>
          <p:blipFill>
            <a:blip r:embed="rId596" cstate="print"/>
            <a:srcRect/>
            <a:stretch>
              <a:fillRect/>
            </a:stretch>
          </p:blipFill>
          <p:spPr bwMode="auto">
            <a:xfrm>
              <a:off x="3571875" y="2470595"/>
              <a:ext cx="247650" cy="236093"/>
            </a:xfrm>
            <a:prstGeom prst="rect">
              <a:avLst/>
            </a:prstGeom>
            <a:noFill/>
          </p:spPr>
        </p:pic>
        <p:grpSp>
          <p:nvGrpSpPr>
            <p:cNvPr id="11" name="Group 848"/>
            <p:cNvGrpSpPr/>
            <p:nvPr>
              <p:custDataLst>
                <p:tags r:id="rId552"/>
              </p:custDataLst>
            </p:nvPr>
          </p:nvGrpSpPr>
          <p:grpSpPr>
            <a:xfrm>
              <a:off x="2257425" y="3627438"/>
              <a:ext cx="274638" cy="333375"/>
              <a:chOff x="2257425" y="3627438"/>
              <a:chExt cx="274638" cy="333375"/>
            </a:xfrm>
          </p:grpSpPr>
          <p:sp>
            <p:nvSpPr>
              <p:cNvPr id="141318"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0"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1"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2"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3"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4"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5"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6"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7"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8"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9"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0"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1"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2"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3"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4"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5"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6"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7"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8"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9"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0"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50"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51"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850" name="Rectangle 5"/>
            <p:cNvSpPr>
              <a:spLocks noChangeArrowheads="1"/>
            </p:cNvSpPr>
            <p:nvPr>
              <p:custDataLst>
                <p:tags r:id="rId553"/>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1132" name="Picture 2" descr="https://encrypted-tbn1.google.com/images?q=tbn:ANd9GcQ2iDgw2b5ZvUXP-l4Qh60g3Q0yQgF2uKGxP2r60bac0hT5CFlVgw"/>
            <p:cNvPicPr>
              <a:picLocks noChangeAspect="1" noChangeArrowheads="1"/>
            </p:cNvPicPr>
            <p:nvPr>
              <p:custDataLst>
                <p:tags r:id="rId554"/>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sp>
          <p:nvSpPr>
            <p:cNvPr id="386" name="Rectangle 5"/>
            <p:cNvSpPr>
              <a:spLocks noChangeArrowheads="1"/>
            </p:cNvSpPr>
            <p:nvPr>
              <p:custDataLst>
                <p:tags r:id="rId555"/>
              </p:custDataLst>
            </p:nvPr>
          </p:nvSpPr>
          <p:spPr bwMode="gray">
            <a:xfrm>
              <a:off x="1049956" y="6400438"/>
              <a:ext cx="6579143" cy="348378"/>
            </a:xfrm>
            <a:prstGeom prst="rect">
              <a:avLst/>
            </a:prstGeom>
            <a:noFill/>
            <a:ln w="9525" algn="ctr">
              <a:noFill/>
              <a:miter lim="800000"/>
              <a:headEnd/>
              <a:tailEnd/>
            </a:ln>
            <a:effectLst/>
          </p:spPr>
          <p:txBody>
            <a:bodyPr lIns="0" tIns="0" rIns="0" bIns="0" anchor="ctr" anchorCtr="0"/>
            <a:lstStyle/>
            <a:p>
              <a:pP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overnance, stability, and national infrastructure essential to vaccination systems but out of scope here.</a:t>
              </a:r>
              <a:endParaRPr lang="en-US" sz="800" dirty="0">
                <a:solidFill>
                  <a:srgbClr val="59452A"/>
                </a:solidFill>
                <a:latin typeface="Gill Sans MT" pitchFamily="34" charset="0"/>
                <a:cs typeface="Arial" charset="0"/>
              </a:endParaRPr>
            </a:p>
          </p:txBody>
        </p:sp>
        <p:pic>
          <p:nvPicPr>
            <p:cNvPr id="387" name="Picture 3"/>
            <p:cNvPicPr>
              <a:picLocks noChangeAspect="1" noChangeArrowheads="1"/>
            </p:cNvPicPr>
            <p:nvPr>
              <p:custDataLst>
                <p:tags r:id="rId556"/>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12" name="Group 389"/>
          <p:cNvGrpSpPr/>
          <p:nvPr/>
        </p:nvGrpSpPr>
        <p:grpSpPr>
          <a:xfrm>
            <a:off x="1524004" y="-743849"/>
            <a:ext cx="9126743" cy="7601849"/>
            <a:chOff x="0" y="-743849"/>
            <a:chExt cx="9126743" cy="7601849"/>
          </a:xfrm>
        </p:grpSpPr>
        <p:sp>
          <p:nvSpPr>
            <p:cNvPr id="391" name="Rectangle 5"/>
            <p:cNvSpPr>
              <a:spLocks noChangeArrowheads="1"/>
            </p:cNvSpPr>
            <p:nvPr>
              <p:custDataLst>
                <p:tags r:id="rId413"/>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392" name="Rounded Rectangle 391"/>
            <p:cNvSpPr/>
            <p:nvPr>
              <p:custDataLst>
                <p:tags r:id="rId414"/>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393" name="Rectangle 5"/>
            <p:cNvSpPr>
              <a:spLocks noChangeArrowheads="1"/>
            </p:cNvSpPr>
            <p:nvPr>
              <p:custDataLst>
                <p:tags r:id="rId415"/>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394" name="Rectangle 5"/>
            <p:cNvSpPr>
              <a:spLocks noChangeArrowheads="1"/>
            </p:cNvSpPr>
            <p:nvPr>
              <p:custDataLst>
                <p:tags r:id="rId416"/>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395" name="Rectangle 5"/>
            <p:cNvSpPr>
              <a:spLocks noChangeArrowheads="1"/>
            </p:cNvSpPr>
            <p:nvPr>
              <p:custDataLst>
                <p:tags r:id="rId417"/>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396" name="Rectangle 5"/>
            <p:cNvSpPr>
              <a:spLocks noChangeArrowheads="1"/>
            </p:cNvSpPr>
            <p:nvPr>
              <p:custDataLst>
                <p:tags r:id="rId418"/>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397" name="Rectangle 5"/>
            <p:cNvSpPr>
              <a:spLocks noChangeArrowheads="1"/>
            </p:cNvSpPr>
            <p:nvPr>
              <p:custDataLst>
                <p:tags r:id="rId419"/>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398" name="Chord 397"/>
            <p:cNvSpPr/>
            <p:nvPr>
              <p:custDataLst>
                <p:tags r:id="rId420"/>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399" name="Chord 398"/>
            <p:cNvSpPr/>
            <p:nvPr>
              <p:custDataLst>
                <p:tags r:id="rId421"/>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400" name="Chord 399"/>
            <p:cNvSpPr/>
            <p:nvPr>
              <p:custDataLst>
                <p:tags r:id="rId422"/>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01" name="Chord 400"/>
            <p:cNvSpPr/>
            <p:nvPr>
              <p:custDataLst>
                <p:tags r:id="rId423"/>
              </p:custDataLst>
            </p:nvPr>
          </p:nvSpPr>
          <p:spPr bwMode="gray">
            <a:xfrm rot="17541648">
              <a:off x="3854254" y="693028"/>
              <a:ext cx="1701057" cy="1701057"/>
            </a:xfrm>
            <a:prstGeom prst="chord">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402" name="Straight Connector 401"/>
            <p:cNvCxnSpPr/>
            <p:nvPr>
              <p:custDataLst>
                <p:tags r:id="rId424"/>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403" name="Straight Connector 402"/>
            <p:cNvCxnSpPr/>
            <p:nvPr>
              <p:custDataLst>
                <p:tags r:id="rId425"/>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404" name="Rectangle 5"/>
            <p:cNvSpPr>
              <a:spLocks noChangeArrowheads="1"/>
            </p:cNvSpPr>
            <p:nvPr>
              <p:custDataLst>
                <p:tags r:id="rId426"/>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405" name="Rectangle 5"/>
            <p:cNvSpPr>
              <a:spLocks noChangeArrowheads="1"/>
            </p:cNvSpPr>
            <p:nvPr>
              <p:custDataLst>
                <p:tags r:id="rId427"/>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406" name="Rectangle 5"/>
            <p:cNvSpPr>
              <a:spLocks noChangeArrowheads="1"/>
            </p:cNvSpPr>
            <p:nvPr>
              <p:custDataLst>
                <p:tags r:id="rId428"/>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407" name="Straight Connector 406"/>
            <p:cNvCxnSpPr/>
            <p:nvPr>
              <p:custDataLst>
                <p:tags r:id="rId429"/>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408" name="Rectangle 5"/>
            <p:cNvSpPr>
              <a:spLocks noChangeArrowheads="1"/>
            </p:cNvSpPr>
            <p:nvPr>
              <p:custDataLst>
                <p:tags r:id="rId430"/>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411" name="Rectangle 5"/>
            <p:cNvSpPr>
              <a:spLocks noChangeArrowheads="1"/>
            </p:cNvSpPr>
            <p:nvPr>
              <p:custDataLst>
                <p:tags r:id="rId431"/>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412" name="Straight Connector 411"/>
            <p:cNvCxnSpPr/>
            <p:nvPr>
              <p:custDataLst>
                <p:tags r:id="rId432"/>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413" name="Straight Connector 412"/>
            <p:cNvCxnSpPr/>
            <p:nvPr>
              <p:custDataLst>
                <p:tags r:id="rId433"/>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415" name="Rectangle 5"/>
            <p:cNvSpPr>
              <a:spLocks noChangeArrowheads="1"/>
            </p:cNvSpPr>
            <p:nvPr>
              <p:custDataLst>
                <p:tags r:id="rId434"/>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416" name="Rectangle 5"/>
            <p:cNvSpPr>
              <a:spLocks noChangeArrowheads="1"/>
            </p:cNvSpPr>
            <p:nvPr>
              <p:custDataLst>
                <p:tags r:id="rId435"/>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417" name="Picture 5"/>
            <p:cNvPicPr>
              <a:picLocks noChangeAspect="1" noChangeArrowheads="1"/>
            </p:cNvPicPr>
            <p:nvPr>
              <p:custDataLst>
                <p:tags r:id="rId436"/>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418" name="Rectangle 5"/>
            <p:cNvSpPr>
              <a:spLocks noChangeArrowheads="1"/>
            </p:cNvSpPr>
            <p:nvPr>
              <p:custDataLst>
                <p:tags r:id="rId437"/>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419" name="Straight Connector 418"/>
            <p:cNvCxnSpPr/>
            <p:nvPr>
              <p:custDataLst>
                <p:tags r:id="rId438"/>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422" name="Rectangle 5"/>
            <p:cNvSpPr>
              <a:spLocks noChangeArrowheads="1"/>
            </p:cNvSpPr>
            <p:nvPr>
              <p:custDataLst>
                <p:tags r:id="rId439"/>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423" name="Rectangle 5"/>
            <p:cNvSpPr>
              <a:spLocks noChangeArrowheads="1"/>
            </p:cNvSpPr>
            <p:nvPr>
              <p:custDataLst>
                <p:tags r:id="rId440"/>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424" name="Rectangle 5"/>
            <p:cNvSpPr>
              <a:spLocks noChangeArrowheads="1"/>
            </p:cNvSpPr>
            <p:nvPr>
              <p:custDataLst>
                <p:tags r:id="rId441"/>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13" name="Group 927"/>
            <p:cNvGrpSpPr/>
            <p:nvPr>
              <p:custDataLst>
                <p:tags r:id="rId442"/>
              </p:custDataLst>
            </p:nvPr>
          </p:nvGrpSpPr>
          <p:grpSpPr>
            <a:xfrm>
              <a:off x="2375776" y="2430017"/>
              <a:ext cx="532015" cy="444343"/>
              <a:chOff x="5085316" y="2082799"/>
              <a:chExt cx="777013" cy="639762"/>
            </a:xfrm>
          </p:grpSpPr>
          <p:sp>
            <p:nvSpPr>
              <p:cNvPr id="524" name="Freeform 25"/>
              <p:cNvSpPr>
                <a:spLocks noChangeAspect="1"/>
              </p:cNvSpPr>
              <p:nvPr>
                <p:custDataLst>
                  <p:tags r:id="rId490"/>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525"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526"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527"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426" name="Rectangle 5"/>
            <p:cNvSpPr>
              <a:spLocks noChangeArrowheads="1"/>
            </p:cNvSpPr>
            <p:nvPr>
              <p:custDataLst>
                <p:tags r:id="rId443"/>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430" name="Rectangle 5"/>
            <p:cNvSpPr>
              <a:spLocks noChangeArrowheads="1"/>
            </p:cNvSpPr>
            <p:nvPr>
              <p:custDataLst>
                <p:tags r:id="rId444"/>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431" name="Rectangle 5"/>
            <p:cNvSpPr>
              <a:spLocks noChangeArrowheads="1"/>
            </p:cNvSpPr>
            <p:nvPr>
              <p:custDataLst>
                <p:tags r:id="rId445"/>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436" name="Rectangle 5"/>
            <p:cNvSpPr>
              <a:spLocks noChangeArrowheads="1"/>
            </p:cNvSpPr>
            <p:nvPr>
              <p:custDataLst>
                <p:tags r:id="rId446"/>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437" name="Picture 21"/>
            <p:cNvPicPr>
              <a:picLocks noChangeAspect="1" noChangeArrowheads="1"/>
            </p:cNvPicPr>
            <p:nvPr>
              <p:custDataLst>
                <p:tags r:id="rId447"/>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439" name="Rectangle 5"/>
            <p:cNvSpPr>
              <a:spLocks noChangeArrowheads="1"/>
            </p:cNvSpPr>
            <p:nvPr>
              <p:custDataLst>
                <p:tags r:id="rId448"/>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440" name="Picture 5"/>
            <p:cNvPicPr>
              <a:picLocks noChangeAspect="1" noChangeArrowheads="1"/>
            </p:cNvPicPr>
            <p:nvPr>
              <p:custDataLst>
                <p:tags r:id="rId449"/>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441" name="Straight Connector 440"/>
            <p:cNvCxnSpPr/>
            <p:nvPr>
              <p:custDataLst>
                <p:tags r:id="rId450"/>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448" name="Rectangle 5"/>
            <p:cNvSpPr>
              <a:spLocks noChangeArrowheads="1"/>
            </p:cNvSpPr>
            <p:nvPr>
              <p:custDataLst>
                <p:tags r:id="rId451"/>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449" name="Rectangle 5"/>
            <p:cNvSpPr>
              <a:spLocks noChangeArrowheads="1"/>
            </p:cNvSpPr>
            <p:nvPr>
              <p:custDataLst>
                <p:tags r:id="rId452"/>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14" name="Group 435"/>
            <p:cNvGrpSpPr/>
            <p:nvPr>
              <p:custDataLst>
                <p:tags r:id="rId453"/>
              </p:custDataLst>
            </p:nvPr>
          </p:nvGrpSpPr>
          <p:grpSpPr>
            <a:xfrm>
              <a:off x="5851932" y="2523591"/>
              <a:ext cx="249647" cy="251917"/>
              <a:chOff x="7230319" y="326252"/>
              <a:chExt cx="506784" cy="510648"/>
            </a:xfrm>
          </p:grpSpPr>
          <p:pic>
            <p:nvPicPr>
              <p:cNvPr id="518" name="Picture 5"/>
              <p:cNvPicPr>
                <a:picLocks noChangeAspect="1" noChangeArrowheads="1"/>
              </p:cNvPicPr>
              <p:nvPr>
                <p:custDataLst>
                  <p:tags r:id="rId484"/>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519" name="Picture 17"/>
              <p:cNvPicPr>
                <a:picLocks noChangeAspect="1" noChangeArrowheads="1"/>
              </p:cNvPicPr>
              <p:nvPr>
                <p:custDataLst>
                  <p:tags r:id="rId485"/>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520" name="Picture 17"/>
              <p:cNvPicPr>
                <a:picLocks noChangeAspect="1" noChangeArrowheads="1"/>
              </p:cNvPicPr>
              <p:nvPr>
                <p:custDataLst>
                  <p:tags r:id="rId486"/>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521" name="Picture 5"/>
              <p:cNvPicPr>
                <a:picLocks noChangeAspect="1" noChangeArrowheads="1"/>
              </p:cNvPicPr>
              <p:nvPr>
                <p:custDataLst>
                  <p:tags r:id="rId487"/>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522" name="Picture 17"/>
              <p:cNvPicPr>
                <a:picLocks noChangeAspect="1" noChangeArrowheads="1"/>
              </p:cNvPicPr>
              <p:nvPr>
                <p:custDataLst>
                  <p:tags r:id="rId488"/>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523" name="Picture 5"/>
              <p:cNvPicPr>
                <a:picLocks noChangeAspect="1" noChangeArrowheads="1"/>
              </p:cNvPicPr>
              <p:nvPr>
                <p:custDataLst>
                  <p:tags r:id="rId489"/>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52" name="Rectangle 5"/>
            <p:cNvSpPr>
              <a:spLocks noChangeArrowheads="1"/>
            </p:cNvSpPr>
            <p:nvPr>
              <p:custDataLst>
                <p:tags r:id="rId454"/>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453" name="Picture 7" descr="C:\Users\mattha\AppData\Local\Microsoft\Windows\Temporary Internet Files\Content.IE5\A0YJT0Y2\MC900368410[1].wmf"/>
            <p:cNvPicPr>
              <a:picLocks noChangeAspect="1" noChangeArrowheads="1"/>
            </p:cNvPicPr>
            <p:nvPr>
              <p:custDataLst>
                <p:tags r:id="rId455"/>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9" descr="C:\Users\mattha\AppData\Local\Microsoft\Windows\Temporary Internet Files\Content.IE5\WZUD8JML\MC900286861[1].wmf"/>
            <p:cNvPicPr>
              <a:picLocks noChangeAspect="1" noChangeArrowheads="1"/>
            </p:cNvPicPr>
            <p:nvPr>
              <p:custDataLst>
                <p:tags r:id="rId456"/>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15" descr="C:\Users\mattha\AppData\Local\Microsoft\Windows\Temporary Internet Files\Content.IE5\6RMOFZA8\MC900434820[1].png"/>
            <p:cNvPicPr>
              <a:picLocks noChangeAspect="1" noChangeArrowheads="1"/>
            </p:cNvPicPr>
            <p:nvPr>
              <p:custDataLst>
                <p:tags r:id="rId457"/>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459" name="Rectangle 5"/>
            <p:cNvSpPr>
              <a:spLocks noChangeArrowheads="1"/>
            </p:cNvSpPr>
            <p:nvPr>
              <p:custDataLst>
                <p:tags r:id="rId458"/>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460" name="Picture 27" descr="C:\Users\mattha\AppData\Local\Microsoft\Windows\Temporary Internet Files\Content.IE5\DT8ZIQ2F\MC900434829[1].png"/>
            <p:cNvPicPr>
              <a:picLocks noChangeAspect="1" noChangeArrowheads="1"/>
            </p:cNvPicPr>
            <p:nvPr>
              <p:custDataLst>
                <p:tags r:id="rId459"/>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35" descr="C:\Users\mattha\AppData\Local\Microsoft\Windows\Temporary Internet Files\Content.IE5\GIPOTG0L\MC900389208[1].wmf"/>
            <p:cNvPicPr>
              <a:picLocks noChangeAspect="1" noChangeArrowheads="1"/>
            </p:cNvPicPr>
            <p:nvPr>
              <p:custDataLst>
                <p:tags r:id="rId460"/>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
            <p:cNvPicPr>
              <a:picLocks noChangeAspect="1" noChangeArrowheads="1"/>
            </p:cNvPicPr>
            <p:nvPr>
              <p:custDataLst>
                <p:tags r:id="rId461"/>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463" name="Picture 48" descr="C:\Users\mattha\AppData\Local\Microsoft\Windows\Temporary Internet Files\Content.IE5\2H1X03YN\MC900431595[1].png"/>
            <p:cNvPicPr>
              <a:picLocks noChangeAspect="1" noChangeArrowheads="1"/>
            </p:cNvPicPr>
            <p:nvPr>
              <p:custDataLst>
                <p:tags r:id="rId462"/>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50" descr="C:\Users\mattha\AppData\Local\Microsoft\Windows\Temporary Internet Files\Content.IE5\DT8ZIQ2F\MC900389384[1].wmf"/>
            <p:cNvPicPr>
              <a:picLocks noChangeAspect="1" noChangeArrowheads="1"/>
            </p:cNvPicPr>
            <p:nvPr>
              <p:custDataLst>
                <p:tags r:id="rId463"/>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53" descr="C:\Users\mattha\AppData\Local\Microsoft\Windows\Temporary Internet Files\Content.IE5\GIPOTG0L\MC900039023[1].wmf"/>
            <p:cNvPicPr>
              <a:picLocks noChangeAspect="1" noChangeArrowheads="1"/>
            </p:cNvPicPr>
            <p:nvPr>
              <p:custDataLst>
                <p:tags r:id="rId464"/>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466" name="Picture 54" descr="C:\Users\mattha\AppData\Local\Microsoft\Windows\Temporary Internet Files\Content.IE5\GIPOTG0L\MC900431584[1].png"/>
            <p:cNvPicPr>
              <a:picLocks noChangeAspect="1" noChangeArrowheads="1"/>
            </p:cNvPicPr>
            <p:nvPr>
              <p:custDataLst>
                <p:tags r:id="rId465"/>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467" name="Picture 57" descr="C:\Users\mattha\AppData\Local\Microsoft\Windows\Temporary Internet Files\Content.IE5\GIPOTG0L\MC900412770[1].wmf"/>
            <p:cNvPicPr>
              <a:picLocks noChangeAspect="1" noChangeArrowheads="1"/>
            </p:cNvPicPr>
            <p:nvPr>
              <p:custDataLst>
                <p:tags r:id="rId466"/>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6" descr="C:\Users\mattha\AppData\Local\Microsoft\Windows\Temporary Internet Files\Content.IE5\GIPOTG0L\MC900442092[1].wmf"/>
            <p:cNvPicPr>
              <a:picLocks noChangeAspect="1" noChangeArrowheads="1"/>
            </p:cNvPicPr>
            <p:nvPr>
              <p:custDataLst>
                <p:tags r:id="rId467"/>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440"/>
            <p:cNvGrpSpPr/>
            <p:nvPr>
              <p:custDataLst>
                <p:tags r:id="rId468"/>
              </p:custDataLst>
            </p:nvPr>
          </p:nvGrpSpPr>
          <p:grpSpPr>
            <a:xfrm>
              <a:off x="5244368" y="2613724"/>
              <a:ext cx="249647" cy="251917"/>
              <a:chOff x="7230319" y="326252"/>
              <a:chExt cx="506784" cy="510648"/>
            </a:xfrm>
          </p:grpSpPr>
          <p:pic>
            <p:nvPicPr>
              <p:cNvPr id="512" name="Picture 5"/>
              <p:cNvPicPr>
                <a:picLocks noChangeAspect="1" noChangeArrowheads="1"/>
              </p:cNvPicPr>
              <p:nvPr>
                <p:custDataLst>
                  <p:tags r:id="rId478"/>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513" name="Picture 17"/>
              <p:cNvPicPr>
                <a:picLocks noChangeAspect="1" noChangeArrowheads="1"/>
              </p:cNvPicPr>
              <p:nvPr>
                <p:custDataLst>
                  <p:tags r:id="rId479"/>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514" name="Picture 17"/>
              <p:cNvPicPr>
                <a:picLocks noChangeAspect="1" noChangeArrowheads="1"/>
              </p:cNvPicPr>
              <p:nvPr>
                <p:custDataLst>
                  <p:tags r:id="rId480"/>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515" name="Picture 5"/>
              <p:cNvPicPr>
                <a:picLocks noChangeAspect="1" noChangeArrowheads="1"/>
              </p:cNvPicPr>
              <p:nvPr>
                <p:custDataLst>
                  <p:tags r:id="rId481"/>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516" name="Picture 17"/>
              <p:cNvPicPr>
                <a:picLocks noChangeAspect="1" noChangeArrowheads="1"/>
              </p:cNvPicPr>
              <p:nvPr>
                <p:custDataLst>
                  <p:tags r:id="rId482"/>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517" name="Picture 5"/>
              <p:cNvPicPr>
                <a:picLocks noChangeAspect="1" noChangeArrowheads="1"/>
              </p:cNvPicPr>
              <p:nvPr>
                <p:custDataLst>
                  <p:tags r:id="rId483"/>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70" name="Rectangle 5"/>
            <p:cNvSpPr>
              <a:spLocks noChangeArrowheads="1"/>
            </p:cNvSpPr>
            <p:nvPr>
              <p:custDataLst>
                <p:tags r:id="rId469"/>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471" name="TextBox 470"/>
            <p:cNvSpPr txBox="1"/>
            <p:nvPr>
              <p:custDataLst>
                <p:tags r:id="rId470"/>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472" name="Picture 5"/>
            <p:cNvPicPr>
              <a:picLocks noChangeAspect="1" noChangeArrowheads="1"/>
            </p:cNvPicPr>
            <p:nvPr>
              <p:custDataLst>
                <p:tags r:id="rId471"/>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473" name="Picture 87" descr="C:\Users\mattha\AppData\Local\Microsoft\Windows\Temporary Internet Files\Content.IE5\DT8ZIQ2F\MC910216326[1].png"/>
            <p:cNvPicPr>
              <a:picLocks noChangeAspect="1" noChangeArrowheads="1"/>
            </p:cNvPicPr>
            <p:nvPr>
              <p:custDataLst>
                <p:tags r:id="rId472"/>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474" name="Picture 4" descr="Data Chart Clip Art"/>
            <p:cNvPicPr>
              <a:picLocks noChangeAspect="1" noChangeArrowheads="1"/>
            </p:cNvPicPr>
            <p:nvPr>
              <p:custDataLst>
                <p:tags r:id="rId473"/>
              </p:custDataLst>
            </p:nvPr>
          </p:nvPicPr>
          <p:blipFill>
            <a:blip r:embed="rId596" cstate="print"/>
            <a:srcRect/>
            <a:stretch>
              <a:fillRect/>
            </a:stretch>
          </p:blipFill>
          <p:spPr bwMode="auto">
            <a:xfrm>
              <a:off x="3571875" y="2470595"/>
              <a:ext cx="247650" cy="236093"/>
            </a:xfrm>
            <a:prstGeom prst="rect">
              <a:avLst/>
            </a:prstGeom>
            <a:noFill/>
          </p:spPr>
        </p:pic>
        <p:grpSp>
          <p:nvGrpSpPr>
            <p:cNvPr id="16" name="Group 848"/>
            <p:cNvGrpSpPr/>
            <p:nvPr>
              <p:custDataLst>
                <p:tags r:id="rId474"/>
              </p:custDataLst>
            </p:nvPr>
          </p:nvGrpSpPr>
          <p:grpSpPr>
            <a:xfrm>
              <a:off x="2257425" y="3627438"/>
              <a:ext cx="274638" cy="333375"/>
              <a:chOff x="2257425" y="3627438"/>
              <a:chExt cx="274638" cy="333375"/>
            </a:xfrm>
          </p:grpSpPr>
          <p:sp>
            <p:nvSpPr>
              <p:cNvPr id="479"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0"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1"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2"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3"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4"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5"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6"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7"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8"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9"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0"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1"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2"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3"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4"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5"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6"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7"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8"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9"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0"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10"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11"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476" name="Rectangle 5"/>
            <p:cNvSpPr>
              <a:spLocks noChangeArrowheads="1"/>
            </p:cNvSpPr>
            <p:nvPr>
              <p:custDataLst>
                <p:tags r:id="rId475"/>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477" name="Picture 2" descr="https://encrypted-tbn1.google.com/images?q=tbn:ANd9GcQ2iDgw2b5ZvUXP-l4Qh60g3Q0yQgF2uKGxP2r60bac0hT5CFlVgw"/>
            <p:cNvPicPr>
              <a:picLocks noChangeAspect="1" noChangeArrowheads="1"/>
            </p:cNvPicPr>
            <p:nvPr>
              <p:custDataLst>
                <p:tags r:id="rId476"/>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478" name="Picture 3"/>
            <p:cNvPicPr>
              <a:picLocks noChangeAspect="1" noChangeArrowheads="1"/>
            </p:cNvPicPr>
            <p:nvPr>
              <p:custDataLst>
                <p:tags r:id="rId477"/>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17" name="Group 527"/>
          <p:cNvGrpSpPr/>
          <p:nvPr/>
        </p:nvGrpSpPr>
        <p:grpSpPr>
          <a:xfrm>
            <a:off x="1524004" y="-743849"/>
            <a:ext cx="9126743" cy="7601849"/>
            <a:chOff x="0" y="-743849"/>
            <a:chExt cx="9126743" cy="7601849"/>
          </a:xfrm>
        </p:grpSpPr>
        <p:sp>
          <p:nvSpPr>
            <p:cNvPr id="529" name="Rectangle 5"/>
            <p:cNvSpPr>
              <a:spLocks noChangeArrowheads="1"/>
            </p:cNvSpPr>
            <p:nvPr>
              <p:custDataLst>
                <p:tags r:id="rId335"/>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530" name="Rounded Rectangle 529"/>
            <p:cNvSpPr/>
            <p:nvPr>
              <p:custDataLst>
                <p:tags r:id="rId336"/>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531" name="Rectangle 5"/>
            <p:cNvSpPr>
              <a:spLocks noChangeArrowheads="1"/>
            </p:cNvSpPr>
            <p:nvPr>
              <p:custDataLst>
                <p:tags r:id="rId337"/>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532" name="Rectangle 5"/>
            <p:cNvSpPr>
              <a:spLocks noChangeArrowheads="1"/>
            </p:cNvSpPr>
            <p:nvPr>
              <p:custDataLst>
                <p:tags r:id="rId338"/>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533" name="Rectangle 5"/>
            <p:cNvSpPr>
              <a:spLocks noChangeArrowheads="1"/>
            </p:cNvSpPr>
            <p:nvPr>
              <p:custDataLst>
                <p:tags r:id="rId339"/>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534" name="Rectangle 5"/>
            <p:cNvSpPr>
              <a:spLocks noChangeArrowheads="1"/>
            </p:cNvSpPr>
            <p:nvPr>
              <p:custDataLst>
                <p:tags r:id="rId340"/>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535" name="Rectangle 5"/>
            <p:cNvSpPr>
              <a:spLocks noChangeArrowheads="1"/>
            </p:cNvSpPr>
            <p:nvPr>
              <p:custDataLst>
                <p:tags r:id="rId341"/>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536" name="Chord 535"/>
            <p:cNvSpPr/>
            <p:nvPr>
              <p:custDataLst>
                <p:tags r:id="rId342"/>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37" name="Chord 536"/>
            <p:cNvSpPr/>
            <p:nvPr>
              <p:custDataLst>
                <p:tags r:id="rId343"/>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538" name="Chord 537"/>
            <p:cNvSpPr/>
            <p:nvPr>
              <p:custDataLst>
                <p:tags r:id="rId344"/>
              </p:custDataLst>
            </p:nvPr>
          </p:nvSpPr>
          <p:spPr bwMode="gray">
            <a:xfrm rot="17541648">
              <a:off x="3018183" y="182158"/>
              <a:ext cx="3373199" cy="3373199"/>
            </a:xfrm>
            <a:prstGeom prst="chord">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39" name="Chord 538"/>
            <p:cNvSpPr/>
            <p:nvPr>
              <p:custDataLst>
                <p:tags r:id="rId345"/>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540" name="Straight Connector 539"/>
            <p:cNvCxnSpPr/>
            <p:nvPr>
              <p:custDataLst>
                <p:tags r:id="rId346"/>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542" name="Straight Connector 541"/>
            <p:cNvCxnSpPr/>
            <p:nvPr>
              <p:custDataLst>
                <p:tags r:id="rId347"/>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543" name="Rectangle 5"/>
            <p:cNvSpPr>
              <a:spLocks noChangeArrowheads="1"/>
            </p:cNvSpPr>
            <p:nvPr>
              <p:custDataLst>
                <p:tags r:id="rId348"/>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544" name="Rectangle 5"/>
            <p:cNvSpPr>
              <a:spLocks noChangeArrowheads="1"/>
            </p:cNvSpPr>
            <p:nvPr>
              <p:custDataLst>
                <p:tags r:id="rId349"/>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545" name="Rectangle 5"/>
            <p:cNvSpPr>
              <a:spLocks noChangeArrowheads="1"/>
            </p:cNvSpPr>
            <p:nvPr>
              <p:custDataLst>
                <p:tags r:id="rId350"/>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546" name="Straight Connector 545"/>
            <p:cNvCxnSpPr/>
            <p:nvPr>
              <p:custDataLst>
                <p:tags r:id="rId351"/>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547" name="Rectangle 5"/>
            <p:cNvSpPr>
              <a:spLocks noChangeArrowheads="1"/>
            </p:cNvSpPr>
            <p:nvPr>
              <p:custDataLst>
                <p:tags r:id="rId352"/>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548" name="Rectangle 5"/>
            <p:cNvSpPr>
              <a:spLocks noChangeArrowheads="1"/>
            </p:cNvSpPr>
            <p:nvPr>
              <p:custDataLst>
                <p:tags r:id="rId353"/>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549" name="Straight Connector 548"/>
            <p:cNvCxnSpPr/>
            <p:nvPr>
              <p:custDataLst>
                <p:tags r:id="rId354"/>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550" name="Straight Connector 549"/>
            <p:cNvCxnSpPr/>
            <p:nvPr>
              <p:custDataLst>
                <p:tags r:id="rId355"/>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551" name="Rectangle 5"/>
            <p:cNvSpPr>
              <a:spLocks noChangeArrowheads="1"/>
            </p:cNvSpPr>
            <p:nvPr>
              <p:custDataLst>
                <p:tags r:id="rId356"/>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552" name="Rectangle 5"/>
            <p:cNvSpPr>
              <a:spLocks noChangeArrowheads="1"/>
            </p:cNvSpPr>
            <p:nvPr>
              <p:custDataLst>
                <p:tags r:id="rId357"/>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553" name="Picture 5"/>
            <p:cNvPicPr>
              <a:picLocks noChangeAspect="1" noChangeArrowheads="1"/>
            </p:cNvPicPr>
            <p:nvPr>
              <p:custDataLst>
                <p:tags r:id="rId358"/>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554" name="Rectangle 5"/>
            <p:cNvSpPr>
              <a:spLocks noChangeArrowheads="1"/>
            </p:cNvSpPr>
            <p:nvPr>
              <p:custDataLst>
                <p:tags r:id="rId359"/>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555" name="Straight Connector 554"/>
            <p:cNvCxnSpPr/>
            <p:nvPr>
              <p:custDataLst>
                <p:tags r:id="rId360"/>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556" name="Rectangle 5"/>
            <p:cNvSpPr>
              <a:spLocks noChangeArrowheads="1"/>
            </p:cNvSpPr>
            <p:nvPr>
              <p:custDataLst>
                <p:tags r:id="rId361"/>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557" name="Rectangle 5"/>
            <p:cNvSpPr>
              <a:spLocks noChangeArrowheads="1"/>
            </p:cNvSpPr>
            <p:nvPr>
              <p:custDataLst>
                <p:tags r:id="rId362"/>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558" name="Rectangle 5"/>
            <p:cNvSpPr>
              <a:spLocks noChangeArrowheads="1"/>
            </p:cNvSpPr>
            <p:nvPr>
              <p:custDataLst>
                <p:tags r:id="rId363"/>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18" name="Group 927"/>
            <p:cNvGrpSpPr/>
            <p:nvPr>
              <p:custDataLst>
                <p:tags r:id="rId364"/>
              </p:custDataLst>
            </p:nvPr>
          </p:nvGrpSpPr>
          <p:grpSpPr>
            <a:xfrm>
              <a:off x="2375776" y="2430017"/>
              <a:ext cx="532015" cy="444343"/>
              <a:chOff x="5085316" y="2082799"/>
              <a:chExt cx="777013" cy="639762"/>
            </a:xfrm>
          </p:grpSpPr>
          <p:sp>
            <p:nvSpPr>
              <p:cNvPr id="641" name="Freeform 25"/>
              <p:cNvSpPr>
                <a:spLocks noChangeAspect="1"/>
              </p:cNvSpPr>
              <p:nvPr>
                <p:custDataLst>
                  <p:tags r:id="rId412"/>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642"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643"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644"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560" name="Rectangle 5"/>
            <p:cNvSpPr>
              <a:spLocks noChangeArrowheads="1"/>
            </p:cNvSpPr>
            <p:nvPr>
              <p:custDataLst>
                <p:tags r:id="rId365"/>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561" name="Rectangle 5"/>
            <p:cNvSpPr>
              <a:spLocks noChangeArrowheads="1"/>
            </p:cNvSpPr>
            <p:nvPr>
              <p:custDataLst>
                <p:tags r:id="rId366"/>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562" name="Rectangle 5"/>
            <p:cNvSpPr>
              <a:spLocks noChangeArrowheads="1"/>
            </p:cNvSpPr>
            <p:nvPr>
              <p:custDataLst>
                <p:tags r:id="rId367"/>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563" name="Rectangle 5"/>
            <p:cNvSpPr>
              <a:spLocks noChangeArrowheads="1"/>
            </p:cNvSpPr>
            <p:nvPr>
              <p:custDataLst>
                <p:tags r:id="rId368"/>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564" name="Picture 21"/>
            <p:cNvPicPr>
              <a:picLocks noChangeAspect="1" noChangeArrowheads="1"/>
            </p:cNvPicPr>
            <p:nvPr>
              <p:custDataLst>
                <p:tags r:id="rId369"/>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566" name="Rectangle 5"/>
            <p:cNvSpPr>
              <a:spLocks noChangeArrowheads="1"/>
            </p:cNvSpPr>
            <p:nvPr>
              <p:custDataLst>
                <p:tags r:id="rId370"/>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567" name="Picture 5"/>
            <p:cNvPicPr>
              <a:picLocks noChangeAspect="1" noChangeArrowheads="1"/>
            </p:cNvPicPr>
            <p:nvPr>
              <p:custDataLst>
                <p:tags r:id="rId371"/>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568" name="Straight Connector 567"/>
            <p:cNvCxnSpPr/>
            <p:nvPr>
              <p:custDataLst>
                <p:tags r:id="rId372"/>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569" name="Rectangle 5"/>
            <p:cNvSpPr>
              <a:spLocks noChangeArrowheads="1"/>
            </p:cNvSpPr>
            <p:nvPr>
              <p:custDataLst>
                <p:tags r:id="rId373"/>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570" name="Rectangle 5"/>
            <p:cNvSpPr>
              <a:spLocks noChangeArrowheads="1"/>
            </p:cNvSpPr>
            <p:nvPr>
              <p:custDataLst>
                <p:tags r:id="rId374"/>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19" name="Group 435"/>
            <p:cNvGrpSpPr/>
            <p:nvPr>
              <p:custDataLst>
                <p:tags r:id="rId375"/>
              </p:custDataLst>
            </p:nvPr>
          </p:nvGrpSpPr>
          <p:grpSpPr>
            <a:xfrm>
              <a:off x="5851932" y="2523591"/>
              <a:ext cx="249647" cy="251917"/>
              <a:chOff x="7230319" y="326252"/>
              <a:chExt cx="506784" cy="510648"/>
            </a:xfrm>
          </p:grpSpPr>
          <p:pic>
            <p:nvPicPr>
              <p:cNvPr id="635" name="Picture 5"/>
              <p:cNvPicPr>
                <a:picLocks noChangeAspect="1" noChangeArrowheads="1"/>
              </p:cNvPicPr>
              <p:nvPr>
                <p:custDataLst>
                  <p:tags r:id="rId406"/>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636" name="Picture 17"/>
              <p:cNvPicPr>
                <a:picLocks noChangeAspect="1" noChangeArrowheads="1"/>
              </p:cNvPicPr>
              <p:nvPr>
                <p:custDataLst>
                  <p:tags r:id="rId407"/>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637" name="Picture 17"/>
              <p:cNvPicPr>
                <a:picLocks noChangeAspect="1" noChangeArrowheads="1"/>
              </p:cNvPicPr>
              <p:nvPr>
                <p:custDataLst>
                  <p:tags r:id="rId408"/>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638" name="Picture 5"/>
              <p:cNvPicPr>
                <a:picLocks noChangeAspect="1" noChangeArrowheads="1"/>
              </p:cNvPicPr>
              <p:nvPr>
                <p:custDataLst>
                  <p:tags r:id="rId409"/>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639" name="Picture 17"/>
              <p:cNvPicPr>
                <a:picLocks noChangeAspect="1" noChangeArrowheads="1"/>
              </p:cNvPicPr>
              <p:nvPr>
                <p:custDataLst>
                  <p:tags r:id="rId410"/>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640" name="Picture 5"/>
              <p:cNvPicPr>
                <a:picLocks noChangeAspect="1" noChangeArrowheads="1"/>
              </p:cNvPicPr>
              <p:nvPr>
                <p:custDataLst>
                  <p:tags r:id="rId411"/>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572" name="Rectangle 5"/>
            <p:cNvSpPr>
              <a:spLocks noChangeArrowheads="1"/>
            </p:cNvSpPr>
            <p:nvPr>
              <p:custDataLst>
                <p:tags r:id="rId376"/>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573" name="Picture 7" descr="C:\Users\mattha\AppData\Local\Microsoft\Windows\Temporary Internet Files\Content.IE5\A0YJT0Y2\MC900368410[1].wmf"/>
            <p:cNvPicPr>
              <a:picLocks noChangeAspect="1" noChangeArrowheads="1"/>
            </p:cNvPicPr>
            <p:nvPr>
              <p:custDataLst>
                <p:tags r:id="rId377"/>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574" name="Picture 9" descr="C:\Users\mattha\AppData\Local\Microsoft\Windows\Temporary Internet Files\Content.IE5\WZUD8JML\MC900286861[1].wmf"/>
            <p:cNvPicPr>
              <a:picLocks noChangeAspect="1" noChangeArrowheads="1"/>
            </p:cNvPicPr>
            <p:nvPr>
              <p:custDataLst>
                <p:tags r:id="rId378"/>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575" name="Picture 15" descr="C:\Users\mattha\AppData\Local\Microsoft\Windows\Temporary Internet Files\Content.IE5\6RMOFZA8\MC900434820[1].png"/>
            <p:cNvPicPr>
              <a:picLocks noChangeAspect="1" noChangeArrowheads="1"/>
            </p:cNvPicPr>
            <p:nvPr>
              <p:custDataLst>
                <p:tags r:id="rId379"/>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576" name="Rectangle 5"/>
            <p:cNvSpPr>
              <a:spLocks noChangeArrowheads="1"/>
            </p:cNvSpPr>
            <p:nvPr>
              <p:custDataLst>
                <p:tags r:id="rId380"/>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577" name="Picture 27" descr="C:\Users\mattha\AppData\Local\Microsoft\Windows\Temporary Internet Files\Content.IE5\DT8ZIQ2F\MC900434829[1].png"/>
            <p:cNvPicPr>
              <a:picLocks noChangeAspect="1" noChangeArrowheads="1"/>
            </p:cNvPicPr>
            <p:nvPr>
              <p:custDataLst>
                <p:tags r:id="rId381"/>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578" name="Picture 35" descr="C:\Users\mattha\AppData\Local\Microsoft\Windows\Temporary Internet Files\Content.IE5\GIPOTG0L\MC900389208[1].wmf"/>
            <p:cNvPicPr>
              <a:picLocks noChangeAspect="1" noChangeArrowheads="1"/>
            </p:cNvPicPr>
            <p:nvPr>
              <p:custDataLst>
                <p:tags r:id="rId382"/>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579" name="Picture 5"/>
            <p:cNvPicPr>
              <a:picLocks noChangeAspect="1" noChangeArrowheads="1"/>
            </p:cNvPicPr>
            <p:nvPr>
              <p:custDataLst>
                <p:tags r:id="rId383"/>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580" name="Picture 48" descr="C:\Users\mattha\AppData\Local\Microsoft\Windows\Temporary Internet Files\Content.IE5\2H1X03YN\MC900431595[1].png"/>
            <p:cNvPicPr>
              <a:picLocks noChangeAspect="1" noChangeArrowheads="1"/>
            </p:cNvPicPr>
            <p:nvPr>
              <p:custDataLst>
                <p:tags r:id="rId384"/>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581" name="Picture 50" descr="C:\Users\mattha\AppData\Local\Microsoft\Windows\Temporary Internet Files\Content.IE5\DT8ZIQ2F\MC900389384[1].wmf"/>
            <p:cNvPicPr>
              <a:picLocks noChangeAspect="1" noChangeArrowheads="1"/>
            </p:cNvPicPr>
            <p:nvPr>
              <p:custDataLst>
                <p:tags r:id="rId385"/>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582" name="Picture 53" descr="C:\Users\mattha\AppData\Local\Microsoft\Windows\Temporary Internet Files\Content.IE5\GIPOTG0L\MC900039023[1].wmf"/>
            <p:cNvPicPr>
              <a:picLocks noChangeAspect="1" noChangeArrowheads="1"/>
            </p:cNvPicPr>
            <p:nvPr>
              <p:custDataLst>
                <p:tags r:id="rId386"/>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583" name="Picture 54" descr="C:\Users\mattha\AppData\Local\Microsoft\Windows\Temporary Internet Files\Content.IE5\GIPOTG0L\MC900431584[1].png"/>
            <p:cNvPicPr>
              <a:picLocks noChangeAspect="1" noChangeArrowheads="1"/>
            </p:cNvPicPr>
            <p:nvPr>
              <p:custDataLst>
                <p:tags r:id="rId387"/>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584" name="Picture 57" descr="C:\Users\mattha\AppData\Local\Microsoft\Windows\Temporary Internet Files\Content.IE5\GIPOTG0L\MC900412770[1].wmf"/>
            <p:cNvPicPr>
              <a:picLocks noChangeAspect="1" noChangeArrowheads="1"/>
            </p:cNvPicPr>
            <p:nvPr>
              <p:custDataLst>
                <p:tags r:id="rId388"/>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585" name="Picture 66" descr="C:\Users\mattha\AppData\Local\Microsoft\Windows\Temporary Internet Files\Content.IE5\GIPOTG0L\MC900442092[1].wmf"/>
            <p:cNvPicPr>
              <a:picLocks noChangeAspect="1" noChangeArrowheads="1"/>
            </p:cNvPicPr>
            <p:nvPr>
              <p:custDataLst>
                <p:tags r:id="rId389"/>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440"/>
            <p:cNvGrpSpPr/>
            <p:nvPr>
              <p:custDataLst>
                <p:tags r:id="rId390"/>
              </p:custDataLst>
            </p:nvPr>
          </p:nvGrpSpPr>
          <p:grpSpPr>
            <a:xfrm>
              <a:off x="5244368" y="2613724"/>
              <a:ext cx="249647" cy="251917"/>
              <a:chOff x="7230319" y="326252"/>
              <a:chExt cx="506784" cy="510648"/>
            </a:xfrm>
          </p:grpSpPr>
          <p:pic>
            <p:nvPicPr>
              <p:cNvPr id="629" name="Picture 5"/>
              <p:cNvPicPr>
                <a:picLocks noChangeAspect="1" noChangeArrowheads="1"/>
              </p:cNvPicPr>
              <p:nvPr>
                <p:custDataLst>
                  <p:tags r:id="rId400"/>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630" name="Picture 17"/>
              <p:cNvPicPr>
                <a:picLocks noChangeAspect="1" noChangeArrowheads="1"/>
              </p:cNvPicPr>
              <p:nvPr>
                <p:custDataLst>
                  <p:tags r:id="rId401"/>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631" name="Picture 17"/>
              <p:cNvPicPr>
                <a:picLocks noChangeAspect="1" noChangeArrowheads="1"/>
              </p:cNvPicPr>
              <p:nvPr>
                <p:custDataLst>
                  <p:tags r:id="rId402"/>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632" name="Picture 5"/>
              <p:cNvPicPr>
                <a:picLocks noChangeAspect="1" noChangeArrowheads="1"/>
              </p:cNvPicPr>
              <p:nvPr>
                <p:custDataLst>
                  <p:tags r:id="rId403"/>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633" name="Picture 17"/>
              <p:cNvPicPr>
                <a:picLocks noChangeAspect="1" noChangeArrowheads="1"/>
              </p:cNvPicPr>
              <p:nvPr>
                <p:custDataLst>
                  <p:tags r:id="rId404"/>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634" name="Picture 5"/>
              <p:cNvPicPr>
                <a:picLocks noChangeAspect="1" noChangeArrowheads="1"/>
              </p:cNvPicPr>
              <p:nvPr>
                <p:custDataLst>
                  <p:tags r:id="rId405"/>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587" name="Rectangle 5"/>
            <p:cNvSpPr>
              <a:spLocks noChangeArrowheads="1"/>
            </p:cNvSpPr>
            <p:nvPr>
              <p:custDataLst>
                <p:tags r:id="rId391"/>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588" name="TextBox 587"/>
            <p:cNvSpPr txBox="1"/>
            <p:nvPr>
              <p:custDataLst>
                <p:tags r:id="rId392"/>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589" name="Picture 5"/>
            <p:cNvPicPr>
              <a:picLocks noChangeAspect="1" noChangeArrowheads="1"/>
            </p:cNvPicPr>
            <p:nvPr>
              <p:custDataLst>
                <p:tags r:id="rId393"/>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590" name="Picture 87" descr="C:\Users\mattha\AppData\Local\Microsoft\Windows\Temporary Internet Files\Content.IE5\DT8ZIQ2F\MC910216326[1].png"/>
            <p:cNvPicPr>
              <a:picLocks noChangeAspect="1" noChangeArrowheads="1"/>
            </p:cNvPicPr>
            <p:nvPr>
              <p:custDataLst>
                <p:tags r:id="rId394"/>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591" name="Picture 4" descr="Data Chart Clip Art"/>
            <p:cNvPicPr>
              <a:picLocks noChangeAspect="1" noChangeArrowheads="1"/>
            </p:cNvPicPr>
            <p:nvPr>
              <p:custDataLst>
                <p:tags r:id="rId395"/>
              </p:custDataLst>
            </p:nvPr>
          </p:nvPicPr>
          <p:blipFill>
            <a:blip r:embed="rId596" cstate="print"/>
            <a:srcRect/>
            <a:stretch>
              <a:fillRect/>
            </a:stretch>
          </p:blipFill>
          <p:spPr bwMode="auto">
            <a:xfrm>
              <a:off x="3571875" y="2470595"/>
              <a:ext cx="247650" cy="236093"/>
            </a:xfrm>
            <a:prstGeom prst="rect">
              <a:avLst/>
            </a:prstGeom>
            <a:noFill/>
          </p:spPr>
        </p:pic>
        <p:grpSp>
          <p:nvGrpSpPr>
            <p:cNvPr id="21" name="Group 848"/>
            <p:cNvGrpSpPr/>
            <p:nvPr>
              <p:custDataLst>
                <p:tags r:id="rId396"/>
              </p:custDataLst>
            </p:nvPr>
          </p:nvGrpSpPr>
          <p:grpSpPr>
            <a:xfrm>
              <a:off x="2257425" y="3627438"/>
              <a:ext cx="274638" cy="333375"/>
              <a:chOff x="2257425" y="3627438"/>
              <a:chExt cx="274638" cy="333375"/>
            </a:xfrm>
          </p:grpSpPr>
          <p:sp>
            <p:nvSpPr>
              <p:cNvPr id="596"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7"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8"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9"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0"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1"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2"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3"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4"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5"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6"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7"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8"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9"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0"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1"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2"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3"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4"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5"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6"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7"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8"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9"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0"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1"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2"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3"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4"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5"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6"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7"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8"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593" name="Rectangle 5"/>
            <p:cNvSpPr>
              <a:spLocks noChangeArrowheads="1"/>
            </p:cNvSpPr>
            <p:nvPr>
              <p:custDataLst>
                <p:tags r:id="rId397"/>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594" name="Picture 2" descr="https://encrypted-tbn1.google.com/images?q=tbn:ANd9GcQ2iDgw2b5ZvUXP-l4Qh60g3Q0yQgF2uKGxP2r60bac0hT5CFlVgw"/>
            <p:cNvPicPr>
              <a:picLocks noChangeAspect="1" noChangeArrowheads="1"/>
            </p:cNvPicPr>
            <p:nvPr>
              <p:custDataLst>
                <p:tags r:id="rId398"/>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595" name="Picture 3"/>
            <p:cNvPicPr>
              <a:picLocks noChangeAspect="1" noChangeArrowheads="1"/>
            </p:cNvPicPr>
            <p:nvPr>
              <p:custDataLst>
                <p:tags r:id="rId399"/>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22" name="Group 644"/>
          <p:cNvGrpSpPr/>
          <p:nvPr/>
        </p:nvGrpSpPr>
        <p:grpSpPr>
          <a:xfrm>
            <a:off x="1524004" y="-743849"/>
            <a:ext cx="9126743" cy="7601849"/>
            <a:chOff x="0" y="-743849"/>
            <a:chExt cx="9126743" cy="7601849"/>
          </a:xfrm>
        </p:grpSpPr>
        <p:sp>
          <p:nvSpPr>
            <p:cNvPr id="646" name="Rectangle 5"/>
            <p:cNvSpPr>
              <a:spLocks noChangeArrowheads="1"/>
            </p:cNvSpPr>
            <p:nvPr>
              <p:custDataLst>
                <p:tags r:id="rId257"/>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647" name="Rounded Rectangle 646"/>
            <p:cNvSpPr/>
            <p:nvPr>
              <p:custDataLst>
                <p:tags r:id="rId258"/>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648" name="Rectangle 5"/>
            <p:cNvSpPr>
              <a:spLocks noChangeArrowheads="1"/>
            </p:cNvSpPr>
            <p:nvPr>
              <p:custDataLst>
                <p:tags r:id="rId259"/>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649" name="Rectangle 5"/>
            <p:cNvSpPr>
              <a:spLocks noChangeArrowheads="1"/>
            </p:cNvSpPr>
            <p:nvPr>
              <p:custDataLst>
                <p:tags r:id="rId260"/>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650" name="Rectangle 5"/>
            <p:cNvSpPr>
              <a:spLocks noChangeArrowheads="1"/>
            </p:cNvSpPr>
            <p:nvPr>
              <p:custDataLst>
                <p:tags r:id="rId261"/>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651" name="Rectangle 5"/>
            <p:cNvSpPr>
              <a:spLocks noChangeArrowheads="1"/>
            </p:cNvSpPr>
            <p:nvPr>
              <p:custDataLst>
                <p:tags r:id="rId262"/>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652" name="Rectangle 5"/>
            <p:cNvSpPr>
              <a:spLocks noChangeArrowheads="1"/>
            </p:cNvSpPr>
            <p:nvPr>
              <p:custDataLst>
                <p:tags r:id="rId263"/>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653" name="Chord 652"/>
            <p:cNvSpPr/>
            <p:nvPr>
              <p:custDataLst>
                <p:tags r:id="rId264"/>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54" name="Chord 653"/>
            <p:cNvSpPr/>
            <p:nvPr>
              <p:custDataLst>
                <p:tags r:id="rId265"/>
              </p:custDataLst>
            </p:nvPr>
          </p:nvSpPr>
          <p:spPr bwMode="gray">
            <a:xfrm rot="17541648">
              <a:off x="2183927" y="-337811"/>
              <a:ext cx="5041711" cy="5041711"/>
            </a:xfrm>
            <a:prstGeom prst="chord">
              <a:avLst>
                <a:gd name="adj1" fmla="val 2690809"/>
                <a:gd name="adj2" fmla="val 16200000"/>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655" name="Chord 654"/>
            <p:cNvSpPr/>
            <p:nvPr>
              <p:custDataLst>
                <p:tags r:id="rId266"/>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56" name="Chord 655"/>
            <p:cNvSpPr/>
            <p:nvPr>
              <p:custDataLst>
                <p:tags r:id="rId267"/>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657" name="Straight Connector 656"/>
            <p:cNvCxnSpPr/>
            <p:nvPr>
              <p:custDataLst>
                <p:tags r:id="rId268"/>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658" name="Straight Connector 657"/>
            <p:cNvCxnSpPr/>
            <p:nvPr>
              <p:custDataLst>
                <p:tags r:id="rId269"/>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659" name="Rectangle 5"/>
            <p:cNvSpPr>
              <a:spLocks noChangeArrowheads="1"/>
            </p:cNvSpPr>
            <p:nvPr>
              <p:custDataLst>
                <p:tags r:id="rId270"/>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660" name="Rectangle 5"/>
            <p:cNvSpPr>
              <a:spLocks noChangeArrowheads="1"/>
            </p:cNvSpPr>
            <p:nvPr>
              <p:custDataLst>
                <p:tags r:id="rId271"/>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661" name="Rectangle 5"/>
            <p:cNvSpPr>
              <a:spLocks noChangeArrowheads="1"/>
            </p:cNvSpPr>
            <p:nvPr>
              <p:custDataLst>
                <p:tags r:id="rId272"/>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662" name="Straight Connector 661"/>
            <p:cNvCxnSpPr/>
            <p:nvPr>
              <p:custDataLst>
                <p:tags r:id="rId273"/>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663" name="Rectangle 5"/>
            <p:cNvSpPr>
              <a:spLocks noChangeArrowheads="1"/>
            </p:cNvSpPr>
            <p:nvPr>
              <p:custDataLst>
                <p:tags r:id="rId274"/>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664" name="Rectangle 5"/>
            <p:cNvSpPr>
              <a:spLocks noChangeArrowheads="1"/>
            </p:cNvSpPr>
            <p:nvPr>
              <p:custDataLst>
                <p:tags r:id="rId275"/>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665" name="Straight Connector 664"/>
            <p:cNvCxnSpPr/>
            <p:nvPr>
              <p:custDataLst>
                <p:tags r:id="rId276"/>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666" name="Straight Connector 665"/>
            <p:cNvCxnSpPr/>
            <p:nvPr>
              <p:custDataLst>
                <p:tags r:id="rId277"/>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667" name="Rectangle 5"/>
            <p:cNvSpPr>
              <a:spLocks noChangeArrowheads="1"/>
            </p:cNvSpPr>
            <p:nvPr>
              <p:custDataLst>
                <p:tags r:id="rId278"/>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668" name="Rectangle 5"/>
            <p:cNvSpPr>
              <a:spLocks noChangeArrowheads="1"/>
            </p:cNvSpPr>
            <p:nvPr>
              <p:custDataLst>
                <p:tags r:id="rId279"/>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669" name="Picture 5"/>
            <p:cNvPicPr>
              <a:picLocks noChangeAspect="1" noChangeArrowheads="1"/>
            </p:cNvPicPr>
            <p:nvPr>
              <p:custDataLst>
                <p:tags r:id="rId280"/>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670" name="Rectangle 5"/>
            <p:cNvSpPr>
              <a:spLocks noChangeArrowheads="1"/>
            </p:cNvSpPr>
            <p:nvPr>
              <p:custDataLst>
                <p:tags r:id="rId281"/>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671" name="Straight Connector 670"/>
            <p:cNvCxnSpPr/>
            <p:nvPr>
              <p:custDataLst>
                <p:tags r:id="rId282"/>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672" name="Rectangle 5"/>
            <p:cNvSpPr>
              <a:spLocks noChangeArrowheads="1"/>
            </p:cNvSpPr>
            <p:nvPr>
              <p:custDataLst>
                <p:tags r:id="rId283"/>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673" name="Rectangle 5"/>
            <p:cNvSpPr>
              <a:spLocks noChangeArrowheads="1"/>
            </p:cNvSpPr>
            <p:nvPr>
              <p:custDataLst>
                <p:tags r:id="rId284"/>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674" name="Rectangle 5"/>
            <p:cNvSpPr>
              <a:spLocks noChangeArrowheads="1"/>
            </p:cNvSpPr>
            <p:nvPr>
              <p:custDataLst>
                <p:tags r:id="rId285"/>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23" name="Group 927"/>
            <p:cNvGrpSpPr/>
            <p:nvPr>
              <p:custDataLst>
                <p:tags r:id="rId286"/>
              </p:custDataLst>
            </p:nvPr>
          </p:nvGrpSpPr>
          <p:grpSpPr>
            <a:xfrm>
              <a:off x="2375776" y="2430017"/>
              <a:ext cx="532015" cy="444343"/>
              <a:chOff x="5085316" y="2082799"/>
              <a:chExt cx="777013" cy="639762"/>
            </a:xfrm>
          </p:grpSpPr>
          <p:sp>
            <p:nvSpPr>
              <p:cNvPr id="758" name="Freeform 25"/>
              <p:cNvSpPr>
                <a:spLocks noChangeAspect="1"/>
              </p:cNvSpPr>
              <p:nvPr>
                <p:custDataLst>
                  <p:tags r:id="rId334"/>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759"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760"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761"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676" name="Rectangle 5"/>
            <p:cNvSpPr>
              <a:spLocks noChangeArrowheads="1"/>
            </p:cNvSpPr>
            <p:nvPr>
              <p:custDataLst>
                <p:tags r:id="rId287"/>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677" name="Rectangle 5"/>
            <p:cNvSpPr>
              <a:spLocks noChangeArrowheads="1"/>
            </p:cNvSpPr>
            <p:nvPr>
              <p:custDataLst>
                <p:tags r:id="rId288"/>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678" name="Rectangle 5"/>
            <p:cNvSpPr>
              <a:spLocks noChangeArrowheads="1"/>
            </p:cNvSpPr>
            <p:nvPr>
              <p:custDataLst>
                <p:tags r:id="rId289"/>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679" name="Rectangle 5"/>
            <p:cNvSpPr>
              <a:spLocks noChangeArrowheads="1"/>
            </p:cNvSpPr>
            <p:nvPr>
              <p:custDataLst>
                <p:tags r:id="rId290"/>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680" name="Picture 21"/>
            <p:cNvPicPr>
              <a:picLocks noChangeAspect="1" noChangeArrowheads="1"/>
            </p:cNvPicPr>
            <p:nvPr>
              <p:custDataLst>
                <p:tags r:id="rId291"/>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681" name="Rectangle 5"/>
            <p:cNvSpPr>
              <a:spLocks noChangeArrowheads="1"/>
            </p:cNvSpPr>
            <p:nvPr>
              <p:custDataLst>
                <p:tags r:id="rId292"/>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682" name="Picture 5"/>
            <p:cNvPicPr>
              <a:picLocks noChangeAspect="1" noChangeArrowheads="1"/>
            </p:cNvPicPr>
            <p:nvPr>
              <p:custDataLst>
                <p:tags r:id="rId293"/>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683" name="Straight Connector 682"/>
            <p:cNvCxnSpPr/>
            <p:nvPr>
              <p:custDataLst>
                <p:tags r:id="rId294"/>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684" name="Rectangle 5"/>
            <p:cNvSpPr>
              <a:spLocks noChangeArrowheads="1"/>
            </p:cNvSpPr>
            <p:nvPr>
              <p:custDataLst>
                <p:tags r:id="rId295"/>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685" name="Rectangle 5"/>
            <p:cNvSpPr>
              <a:spLocks noChangeArrowheads="1"/>
            </p:cNvSpPr>
            <p:nvPr>
              <p:custDataLst>
                <p:tags r:id="rId296"/>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24" name="Group 435"/>
            <p:cNvGrpSpPr/>
            <p:nvPr>
              <p:custDataLst>
                <p:tags r:id="rId297"/>
              </p:custDataLst>
            </p:nvPr>
          </p:nvGrpSpPr>
          <p:grpSpPr>
            <a:xfrm>
              <a:off x="5851932" y="2523591"/>
              <a:ext cx="249647" cy="251917"/>
              <a:chOff x="7230319" y="326252"/>
              <a:chExt cx="506784" cy="510648"/>
            </a:xfrm>
          </p:grpSpPr>
          <p:pic>
            <p:nvPicPr>
              <p:cNvPr id="752" name="Picture 5"/>
              <p:cNvPicPr>
                <a:picLocks noChangeAspect="1" noChangeArrowheads="1"/>
              </p:cNvPicPr>
              <p:nvPr>
                <p:custDataLst>
                  <p:tags r:id="rId328"/>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753" name="Picture 17"/>
              <p:cNvPicPr>
                <a:picLocks noChangeAspect="1" noChangeArrowheads="1"/>
              </p:cNvPicPr>
              <p:nvPr>
                <p:custDataLst>
                  <p:tags r:id="rId329"/>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754" name="Picture 17"/>
              <p:cNvPicPr>
                <a:picLocks noChangeAspect="1" noChangeArrowheads="1"/>
              </p:cNvPicPr>
              <p:nvPr>
                <p:custDataLst>
                  <p:tags r:id="rId330"/>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755" name="Picture 5"/>
              <p:cNvPicPr>
                <a:picLocks noChangeAspect="1" noChangeArrowheads="1"/>
              </p:cNvPicPr>
              <p:nvPr>
                <p:custDataLst>
                  <p:tags r:id="rId331"/>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756" name="Picture 17"/>
              <p:cNvPicPr>
                <a:picLocks noChangeAspect="1" noChangeArrowheads="1"/>
              </p:cNvPicPr>
              <p:nvPr>
                <p:custDataLst>
                  <p:tags r:id="rId332"/>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757" name="Picture 5"/>
              <p:cNvPicPr>
                <a:picLocks noChangeAspect="1" noChangeArrowheads="1"/>
              </p:cNvPicPr>
              <p:nvPr>
                <p:custDataLst>
                  <p:tags r:id="rId333"/>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687" name="Rectangle 5"/>
            <p:cNvSpPr>
              <a:spLocks noChangeArrowheads="1"/>
            </p:cNvSpPr>
            <p:nvPr>
              <p:custDataLst>
                <p:tags r:id="rId298"/>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688" name="Picture 7" descr="C:\Users\mattha\AppData\Local\Microsoft\Windows\Temporary Internet Files\Content.IE5\A0YJT0Y2\MC900368410[1].wmf"/>
            <p:cNvPicPr>
              <a:picLocks noChangeAspect="1" noChangeArrowheads="1"/>
            </p:cNvPicPr>
            <p:nvPr>
              <p:custDataLst>
                <p:tags r:id="rId299"/>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689" name="Picture 9" descr="C:\Users\mattha\AppData\Local\Microsoft\Windows\Temporary Internet Files\Content.IE5\WZUD8JML\MC900286861[1].wmf"/>
            <p:cNvPicPr>
              <a:picLocks noChangeAspect="1" noChangeArrowheads="1"/>
            </p:cNvPicPr>
            <p:nvPr>
              <p:custDataLst>
                <p:tags r:id="rId300"/>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690" name="Picture 15" descr="C:\Users\mattha\AppData\Local\Microsoft\Windows\Temporary Internet Files\Content.IE5\6RMOFZA8\MC900434820[1].png"/>
            <p:cNvPicPr>
              <a:picLocks noChangeAspect="1" noChangeArrowheads="1"/>
            </p:cNvPicPr>
            <p:nvPr>
              <p:custDataLst>
                <p:tags r:id="rId301"/>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691" name="Rectangle 5"/>
            <p:cNvSpPr>
              <a:spLocks noChangeArrowheads="1"/>
            </p:cNvSpPr>
            <p:nvPr>
              <p:custDataLst>
                <p:tags r:id="rId302"/>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692" name="Picture 27" descr="C:\Users\mattha\AppData\Local\Microsoft\Windows\Temporary Internet Files\Content.IE5\DT8ZIQ2F\MC900434829[1].png"/>
            <p:cNvPicPr>
              <a:picLocks noChangeAspect="1" noChangeArrowheads="1"/>
            </p:cNvPicPr>
            <p:nvPr>
              <p:custDataLst>
                <p:tags r:id="rId303"/>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693" name="Picture 35" descr="C:\Users\mattha\AppData\Local\Microsoft\Windows\Temporary Internet Files\Content.IE5\GIPOTG0L\MC900389208[1].wmf"/>
            <p:cNvPicPr>
              <a:picLocks noChangeAspect="1" noChangeArrowheads="1"/>
            </p:cNvPicPr>
            <p:nvPr>
              <p:custDataLst>
                <p:tags r:id="rId304"/>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694" name="Picture 5"/>
            <p:cNvPicPr>
              <a:picLocks noChangeAspect="1" noChangeArrowheads="1"/>
            </p:cNvPicPr>
            <p:nvPr>
              <p:custDataLst>
                <p:tags r:id="rId305"/>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695" name="Picture 48" descr="C:\Users\mattha\AppData\Local\Microsoft\Windows\Temporary Internet Files\Content.IE5\2H1X03YN\MC900431595[1].png"/>
            <p:cNvPicPr>
              <a:picLocks noChangeAspect="1" noChangeArrowheads="1"/>
            </p:cNvPicPr>
            <p:nvPr>
              <p:custDataLst>
                <p:tags r:id="rId306"/>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696" name="Picture 50" descr="C:\Users\mattha\AppData\Local\Microsoft\Windows\Temporary Internet Files\Content.IE5\DT8ZIQ2F\MC900389384[1].wmf"/>
            <p:cNvPicPr>
              <a:picLocks noChangeAspect="1" noChangeArrowheads="1"/>
            </p:cNvPicPr>
            <p:nvPr>
              <p:custDataLst>
                <p:tags r:id="rId307"/>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697" name="Picture 53" descr="C:\Users\mattha\AppData\Local\Microsoft\Windows\Temporary Internet Files\Content.IE5\GIPOTG0L\MC900039023[1].wmf"/>
            <p:cNvPicPr>
              <a:picLocks noChangeAspect="1" noChangeArrowheads="1"/>
            </p:cNvPicPr>
            <p:nvPr>
              <p:custDataLst>
                <p:tags r:id="rId308"/>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698" name="Picture 54" descr="C:\Users\mattha\AppData\Local\Microsoft\Windows\Temporary Internet Files\Content.IE5\GIPOTG0L\MC900431584[1].png"/>
            <p:cNvPicPr>
              <a:picLocks noChangeAspect="1" noChangeArrowheads="1"/>
            </p:cNvPicPr>
            <p:nvPr>
              <p:custDataLst>
                <p:tags r:id="rId309"/>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699" name="Picture 57" descr="C:\Users\mattha\AppData\Local\Microsoft\Windows\Temporary Internet Files\Content.IE5\GIPOTG0L\MC900412770[1].wmf"/>
            <p:cNvPicPr>
              <a:picLocks noChangeAspect="1" noChangeArrowheads="1"/>
            </p:cNvPicPr>
            <p:nvPr>
              <p:custDataLst>
                <p:tags r:id="rId310"/>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700" name="Picture 66" descr="C:\Users\mattha\AppData\Local\Microsoft\Windows\Temporary Internet Files\Content.IE5\GIPOTG0L\MC900442092[1].wmf"/>
            <p:cNvPicPr>
              <a:picLocks noChangeAspect="1" noChangeArrowheads="1"/>
            </p:cNvPicPr>
            <p:nvPr>
              <p:custDataLst>
                <p:tags r:id="rId311"/>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440"/>
            <p:cNvGrpSpPr/>
            <p:nvPr>
              <p:custDataLst>
                <p:tags r:id="rId312"/>
              </p:custDataLst>
            </p:nvPr>
          </p:nvGrpSpPr>
          <p:grpSpPr>
            <a:xfrm>
              <a:off x="5244368" y="2613724"/>
              <a:ext cx="249647" cy="251917"/>
              <a:chOff x="7230319" y="326252"/>
              <a:chExt cx="506784" cy="510648"/>
            </a:xfrm>
          </p:grpSpPr>
          <p:pic>
            <p:nvPicPr>
              <p:cNvPr id="744" name="Picture 5"/>
              <p:cNvPicPr>
                <a:picLocks noChangeAspect="1" noChangeArrowheads="1"/>
              </p:cNvPicPr>
              <p:nvPr>
                <p:custDataLst>
                  <p:tags r:id="rId322"/>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745" name="Picture 17"/>
              <p:cNvPicPr>
                <a:picLocks noChangeAspect="1" noChangeArrowheads="1"/>
              </p:cNvPicPr>
              <p:nvPr>
                <p:custDataLst>
                  <p:tags r:id="rId323"/>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748" name="Picture 17"/>
              <p:cNvPicPr>
                <a:picLocks noChangeAspect="1" noChangeArrowheads="1"/>
              </p:cNvPicPr>
              <p:nvPr>
                <p:custDataLst>
                  <p:tags r:id="rId324"/>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749" name="Picture 5"/>
              <p:cNvPicPr>
                <a:picLocks noChangeAspect="1" noChangeArrowheads="1"/>
              </p:cNvPicPr>
              <p:nvPr>
                <p:custDataLst>
                  <p:tags r:id="rId325"/>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750" name="Picture 17"/>
              <p:cNvPicPr>
                <a:picLocks noChangeAspect="1" noChangeArrowheads="1"/>
              </p:cNvPicPr>
              <p:nvPr>
                <p:custDataLst>
                  <p:tags r:id="rId326"/>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751" name="Picture 5"/>
              <p:cNvPicPr>
                <a:picLocks noChangeAspect="1" noChangeArrowheads="1"/>
              </p:cNvPicPr>
              <p:nvPr>
                <p:custDataLst>
                  <p:tags r:id="rId327"/>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702" name="Rectangle 5"/>
            <p:cNvSpPr>
              <a:spLocks noChangeArrowheads="1"/>
            </p:cNvSpPr>
            <p:nvPr>
              <p:custDataLst>
                <p:tags r:id="rId313"/>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703" name="TextBox 702"/>
            <p:cNvSpPr txBox="1"/>
            <p:nvPr>
              <p:custDataLst>
                <p:tags r:id="rId314"/>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704" name="Picture 5"/>
            <p:cNvPicPr>
              <a:picLocks noChangeAspect="1" noChangeArrowheads="1"/>
            </p:cNvPicPr>
            <p:nvPr>
              <p:custDataLst>
                <p:tags r:id="rId315"/>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705" name="Picture 87" descr="C:\Users\mattha\AppData\Local\Microsoft\Windows\Temporary Internet Files\Content.IE5\DT8ZIQ2F\MC910216326[1].png"/>
            <p:cNvPicPr>
              <a:picLocks noChangeAspect="1" noChangeArrowheads="1"/>
            </p:cNvPicPr>
            <p:nvPr>
              <p:custDataLst>
                <p:tags r:id="rId316"/>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706" name="Picture 4" descr="Data Chart Clip Art"/>
            <p:cNvPicPr>
              <a:picLocks noChangeAspect="1" noChangeArrowheads="1"/>
            </p:cNvPicPr>
            <p:nvPr>
              <p:custDataLst>
                <p:tags r:id="rId317"/>
              </p:custDataLst>
            </p:nvPr>
          </p:nvPicPr>
          <p:blipFill>
            <a:blip r:embed="rId596" cstate="print"/>
            <a:srcRect/>
            <a:stretch>
              <a:fillRect/>
            </a:stretch>
          </p:blipFill>
          <p:spPr bwMode="auto">
            <a:xfrm>
              <a:off x="3571875" y="2470595"/>
              <a:ext cx="247650" cy="236093"/>
            </a:xfrm>
            <a:prstGeom prst="rect">
              <a:avLst/>
            </a:prstGeom>
            <a:noFill/>
          </p:spPr>
        </p:pic>
        <p:grpSp>
          <p:nvGrpSpPr>
            <p:cNvPr id="27" name="Group 848"/>
            <p:cNvGrpSpPr/>
            <p:nvPr>
              <p:custDataLst>
                <p:tags r:id="rId318"/>
              </p:custDataLst>
            </p:nvPr>
          </p:nvGrpSpPr>
          <p:grpSpPr>
            <a:xfrm>
              <a:off x="2257425" y="3627438"/>
              <a:ext cx="274638" cy="333375"/>
              <a:chOff x="2257425" y="3627438"/>
              <a:chExt cx="274638" cy="333375"/>
            </a:xfrm>
          </p:grpSpPr>
          <p:sp>
            <p:nvSpPr>
              <p:cNvPr id="711"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2"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3"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4"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5"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6"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7"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8"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9"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0"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1"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2"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3"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4"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5"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6"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7"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8"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9"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0"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1"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2"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3"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4"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5"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6"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7"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8"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9"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0"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1"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2"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3"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708" name="Rectangle 5"/>
            <p:cNvSpPr>
              <a:spLocks noChangeArrowheads="1"/>
            </p:cNvSpPr>
            <p:nvPr>
              <p:custDataLst>
                <p:tags r:id="rId319"/>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709" name="Picture 2" descr="https://encrypted-tbn1.google.com/images?q=tbn:ANd9GcQ2iDgw2b5ZvUXP-l4Qh60g3Q0yQgF2uKGxP2r60bac0hT5CFlVgw"/>
            <p:cNvPicPr>
              <a:picLocks noChangeAspect="1" noChangeArrowheads="1"/>
            </p:cNvPicPr>
            <p:nvPr>
              <p:custDataLst>
                <p:tags r:id="rId320"/>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710" name="Picture 3"/>
            <p:cNvPicPr>
              <a:picLocks noChangeAspect="1" noChangeArrowheads="1"/>
            </p:cNvPicPr>
            <p:nvPr>
              <p:custDataLst>
                <p:tags r:id="rId321"/>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28" name="Group 761"/>
          <p:cNvGrpSpPr/>
          <p:nvPr/>
        </p:nvGrpSpPr>
        <p:grpSpPr>
          <a:xfrm>
            <a:off x="1524004" y="-743849"/>
            <a:ext cx="9126743" cy="7601849"/>
            <a:chOff x="0" y="-743849"/>
            <a:chExt cx="9126743" cy="7601849"/>
          </a:xfrm>
        </p:grpSpPr>
        <p:sp>
          <p:nvSpPr>
            <p:cNvPr id="763" name="Rectangle 5"/>
            <p:cNvSpPr>
              <a:spLocks noChangeArrowheads="1"/>
            </p:cNvSpPr>
            <p:nvPr>
              <p:custDataLst>
                <p:tags r:id="rId179"/>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764" name="Rounded Rectangle 763"/>
            <p:cNvSpPr/>
            <p:nvPr>
              <p:custDataLst>
                <p:tags r:id="rId180"/>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765" name="Rectangle 5"/>
            <p:cNvSpPr>
              <a:spLocks noChangeArrowheads="1"/>
            </p:cNvSpPr>
            <p:nvPr>
              <p:custDataLst>
                <p:tags r:id="rId181"/>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766" name="Rectangle 5"/>
            <p:cNvSpPr>
              <a:spLocks noChangeArrowheads="1"/>
            </p:cNvSpPr>
            <p:nvPr>
              <p:custDataLst>
                <p:tags r:id="rId182"/>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767" name="Rectangle 5"/>
            <p:cNvSpPr>
              <a:spLocks noChangeArrowheads="1"/>
            </p:cNvSpPr>
            <p:nvPr>
              <p:custDataLst>
                <p:tags r:id="rId183"/>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768" name="Rectangle 5"/>
            <p:cNvSpPr>
              <a:spLocks noChangeArrowheads="1"/>
            </p:cNvSpPr>
            <p:nvPr>
              <p:custDataLst>
                <p:tags r:id="rId184"/>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769" name="Rectangle 5"/>
            <p:cNvSpPr>
              <a:spLocks noChangeArrowheads="1"/>
            </p:cNvSpPr>
            <p:nvPr>
              <p:custDataLst>
                <p:tags r:id="rId185"/>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770" name="Chord 769"/>
            <p:cNvSpPr/>
            <p:nvPr>
              <p:custDataLst>
                <p:tags r:id="rId186"/>
              </p:custDataLst>
            </p:nvPr>
          </p:nvSpPr>
          <p:spPr bwMode="gray">
            <a:xfrm rot="17541648">
              <a:off x="1424429" y="-785020"/>
              <a:ext cx="6431013" cy="6513356"/>
            </a:xfrm>
            <a:prstGeom prst="chord">
              <a:avLst>
                <a:gd name="adj1" fmla="val 2667511"/>
                <a:gd name="adj2" fmla="val 16200000"/>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71" name="Chord 770"/>
            <p:cNvSpPr/>
            <p:nvPr>
              <p:custDataLst>
                <p:tags r:id="rId187"/>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772" name="Chord 771"/>
            <p:cNvSpPr/>
            <p:nvPr>
              <p:custDataLst>
                <p:tags r:id="rId188"/>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73" name="Chord 772"/>
            <p:cNvSpPr/>
            <p:nvPr>
              <p:custDataLst>
                <p:tags r:id="rId189"/>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774" name="Straight Connector 773"/>
            <p:cNvCxnSpPr/>
            <p:nvPr>
              <p:custDataLst>
                <p:tags r:id="rId190"/>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775" name="Straight Connector 774"/>
            <p:cNvCxnSpPr/>
            <p:nvPr>
              <p:custDataLst>
                <p:tags r:id="rId191"/>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776" name="Rectangle 5"/>
            <p:cNvSpPr>
              <a:spLocks noChangeArrowheads="1"/>
            </p:cNvSpPr>
            <p:nvPr>
              <p:custDataLst>
                <p:tags r:id="rId192"/>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777" name="Rectangle 5"/>
            <p:cNvSpPr>
              <a:spLocks noChangeArrowheads="1"/>
            </p:cNvSpPr>
            <p:nvPr>
              <p:custDataLst>
                <p:tags r:id="rId193"/>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778" name="Rectangle 5"/>
            <p:cNvSpPr>
              <a:spLocks noChangeArrowheads="1"/>
            </p:cNvSpPr>
            <p:nvPr>
              <p:custDataLst>
                <p:tags r:id="rId194"/>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779" name="Straight Connector 778"/>
            <p:cNvCxnSpPr/>
            <p:nvPr>
              <p:custDataLst>
                <p:tags r:id="rId195"/>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780" name="Rectangle 5"/>
            <p:cNvSpPr>
              <a:spLocks noChangeArrowheads="1"/>
            </p:cNvSpPr>
            <p:nvPr>
              <p:custDataLst>
                <p:tags r:id="rId196"/>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781" name="Rectangle 5"/>
            <p:cNvSpPr>
              <a:spLocks noChangeArrowheads="1"/>
            </p:cNvSpPr>
            <p:nvPr>
              <p:custDataLst>
                <p:tags r:id="rId197"/>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782" name="Straight Connector 781"/>
            <p:cNvCxnSpPr/>
            <p:nvPr>
              <p:custDataLst>
                <p:tags r:id="rId198"/>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783" name="Straight Connector 782"/>
            <p:cNvCxnSpPr/>
            <p:nvPr>
              <p:custDataLst>
                <p:tags r:id="rId199"/>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784" name="Rectangle 5"/>
            <p:cNvSpPr>
              <a:spLocks noChangeArrowheads="1"/>
            </p:cNvSpPr>
            <p:nvPr>
              <p:custDataLst>
                <p:tags r:id="rId200"/>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785" name="Rectangle 5"/>
            <p:cNvSpPr>
              <a:spLocks noChangeArrowheads="1"/>
            </p:cNvSpPr>
            <p:nvPr>
              <p:custDataLst>
                <p:tags r:id="rId201"/>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786" name="Picture 5"/>
            <p:cNvPicPr>
              <a:picLocks noChangeAspect="1" noChangeArrowheads="1"/>
            </p:cNvPicPr>
            <p:nvPr>
              <p:custDataLst>
                <p:tags r:id="rId202"/>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787" name="Rectangle 5"/>
            <p:cNvSpPr>
              <a:spLocks noChangeArrowheads="1"/>
            </p:cNvSpPr>
            <p:nvPr>
              <p:custDataLst>
                <p:tags r:id="rId203"/>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788" name="Straight Connector 787"/>
            <p:cNvCxnSpPr/>
            <p:nvPr>
              <p:custDataLst>
                <p:tags r:id="rId204"/>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789" name="Rectangle 5"/>
            <p:cNvSpPr>
              <a:spLocks noChangeArrowheads="1"/>
            </p:cNvSpPr>
            <p:nvPr>
              <p:custDataLst>
                <p:tags r:id="rId205"/>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790" name="Rectangle 5"/>
            <p:cNvSpPr>
              <a:spLocks noChangeArrowheads="1"/>
            </p:cNvSpPr>
            <p:nvPr>
              <p:custDataLst>
                <p:tags r:id="rId206"/>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791" name="Rectangle 5"/>
            <p:cNvSpPr>
              <a:spLocks noChangeArrowheads="1"/>
            </p:cNvSpPr>
            <p:nvPr>
              <p:custDataLst>
                <p:tags r:id="rId207"/>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29" name="Group 927"/>
            <p:cNvGrpSpPr/>
            <p:nvPr>
              <p:custDataLst>
                <p:tags r:id="rId208"/>
              </p:custDataLst>
            </p:nvPr>
          </p:nvGrpSpPr>
          <p:grpSpPr>
            <a:xfrm>
              <a:off x="2375776" y="2430017"/>
              <a:ext cx="532015" cy="444343"/>
              <a:chOff x="5085316" y="2082799"/>
              <a:chExt cx="777013" cy="639762"/>
            </a:xfrm>
          </p:grpSpPr>
          <p:sp>
            <p:nvSpPr>
              <p:cNvPr id="875" name="Freeform 25"/>
              <p:cNvSpPr>
                <a:spLocks noChangeAspect="1"/>
              </p:cNvSpPr>
              <p:nvPr>
                <p:custDataLst>
                  <p:tags r:id="rId256"/>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876"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877"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878"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793" name="Rectangle 5"/>
            <p:cNvSpPr>
              <a:spLocks noChangeArrowheads="1"/>
            </p:cNvSpPr>
            <p:nvPr>
              <p:custDataLst>
                <p:tags r:id="rId209"/>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794" name="Rectangle 5"/>
            <p:cNvSpPr>
              <a:spLocks noChangeArrowheads="1"/>
            </p:cNvSpPr>
            <p:nvPr>
              <p:custDataLst>
                <p:tags r:id="rId210"/>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795" name="Rectangle 5"/>
            <p:cNvSpPr>
              <a:spLocks noChangeArrowheads="1"/>
            </p:cNvSpPr>
            <p:nvPr>
              <p:custDataLst>
                <p:tags r:id="rId211"/>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796" name="Rectangle 5"/>
            <p:cNvSpPr>
              <a:spLocks noChangeArrowheads="1"/>
            </p:cNvSpPr>
            <p:nvPr>
              <p:custDataLst>
                <p:tags r:id="rId212"/>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797" name="Picture 21"/>
            <p:cNvPicPr>
              <a:picLocks noChangeAspect="1" noChangeArrowheads="1"/>
            </p:cNvPicPr>
            <p:nvPr>
              <p:custDataLst>
                <p:tags r:id="rId213"/>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798" name="Rectangle 5"/>
            <p:cNvSpPr>
              <a:spLocks noChangeArrowheads="1"/>
            </p:cNvSpPr>
            <p:nvPr>
              <p:custDataLst>
                <p:tags r:id="rId214"/>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799" name="Picture 5"/>
            <p:cNvPicPr>
              <a:picLocks noChangeAspect="1" noChangeArrowheads="1"/>
            </p:cNvPicPr>
            <p:nvPr>
              <p:custDataLst>
                <p:tags r:id="rId215"/>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800" name="Straight Connector 799"/>
            <p:cNvCxnSpPr/>
            <p:nvPr>
              <p:custDataLst>
                <p:tags r:id="rId216"/>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801" name="Rectangle 5"/>
            <p:cNvSpPr>
              <a:spLocks noChangeArrowheads="1"/>
            </p:cNvSpPr>
            <p:nvPr>
              <p:custDataLst>
                <p:tags r:id="rId217"/>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802" name="Rectangle 5"/>
            <p:cNvSpPr>
              <a:spLocks noChangeArrowheads="1"/>
            </p:cNvSpPr>
            <p:nvPr>
              <p:custDataLst>
                <p:tags r:id="rId218"/>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30" name="Group 435"/>
            <p:cNvGrpSpPr/>
            <p:nvPr>
              <p:custDataLst>
                <p:tags r:id="rId219"/>
              </p:custDataLst>
            </p:nvPr>
          </p:nvGrpSpPr>
          <p:grpSpPr>
            <a:xfrm>
              <a:off x="5851932" y="2523591"/>
              <a:ext cx="249647" cy="251917"/>
              <a:chOff x="7230319" y="326252"/>
              <a:chExt cx="506784" cy="510648"/>
            </a:xfrm>
          </p:grpSpPr>
          <p:pic>
            <p:nvPicPr>
              <p:cNvPr id="869" name="Picture 5"/>
              <p:cNvPicPr>
                <a:picLocks noChangeAspect="1" noChangeArrowheads="1"/>
              </p:cNvPicPr>
              <p:nvPr>
                <p:custDataLst>
                  <p:tags r:id="rId250"/>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870" name="Picture 17"/>
              <p:cNvPicPr>
                <a:picLocks noChangeAspect="1" noChangeArrowheads="1"/>
              </p:cNvPicPr>
              <p:nvPr>
                <p:custDataLst>
                  <p:tags r:id="rId251"/>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871" name="Picture 17"/>
              <p:cNvPicPr>
                <a:picLocks noChangeAspect="1" noChangeArrowheads="1"/>
              </p:cNvPicPr>
              <p:nvPr>
                <p:custDataLst>
                  <p:tags r:id="rId252"/>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872" name="Picture 5"/>
              <p:cNvPicPr>
                <a:picLocks noChangeAspect="1" noChangeArrowheads="1"/>
              </p:cNvPicPr>
              <p:nvPr>
                <p:custDataLst>
                  <p:tags r:id="rId253"/>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873" name="Picture 17"/>
              <p:cNvPicPr>
                <a:picLocks noChangeAspect="1" noChangeArrowheads="1"/>
              </p:cNvPicPr>
              <p:nvPr>
                <p:custDataLst>
                  <p:tags r:id="rId254"/>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874" name="Picture 5"/>
              <p:cNvPicPr>
                <a:picLocks noChangeAspect="1" noChangeArrowheads="1"/>
              </p:cNvPicPr>
              <p:nvPr>
                <p:custDataLst>
                  <p:tags r:id="rId255"/>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804" name="Rectangle 5"/>
            <p:cNvSpPr>
              <a:spLocks noChangeArrowheads="1"/>
            </p:cNvSpPr>
            <p:nvPr>
              <p:custDataLst>
                <p:tags r:id="rId220"/>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805" name="Picture 7" descr="C:\Users\mattha\AppData\Local\Microsoft\Windows\Temporary Internet Files\Content.IE5\A0YJT0Y2\MC900368410[1].wmf"/>
            <p:cNvPicPr>
              <a:picLocks noChangeAspect="1" noChangeArrowheads="1"/>
            </p:cNvPicPr>
            <p:nvPr>
              <p:custDataLst>
                <p:tags r:id="rId221"/>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806" name="Picture 9" descr="C:\Users\mattha\AppData\Local\Microsoft\Windows\Temporary Internet Files\Content.IE5\WZUD8JML\MC900286861[1].wmf"/>
            <p:cNvPicPr>
              <a:picLocks noChangeAspect="1" noChangeArrowheads="1"/>
            </p:cNvPicPr>
            <p:nvPr>
              <p:custDataLst>
                <p:tags r:id="rId222"/>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807" name="Picture 15" descr="C:\Users\mattha\AppData\Local\Microsoft\Windows\Temporary Internet Files\Content.IE5\6RMOFZA8\MC900434820[1].png"/>
            <p:cNvPicPr>
              <a:picLocks noChangeAspect="1" noChangeArrowheads="1"/>
            </p:cNvPicPr>
            <p:nvPr>
              <p:custDataLst>
                <p:tags r:id="rId223"/>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808" name="Rectangle 5"/>
            <p:cNvSpPr>
              <a:spLocks noChangeArrowheads="1"/>
            </p:cNvSpPr>
            <p:nvPr>
              <p:custDataLst>
                <p:tags r:id="rId224"/>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809" name="Picture 27" descr="C:\Users\mattha\AppData\Local\Microsoft\Windows\Temporary Internet Files\Content.IE5\DT8ZIQ2F\MC900434829[1].png"/>
            <p:cNvPicPr>
              <a:picLocks noChangeAspect="1" noChangeArrowheads="1"/>
            </p:cNvPicPr>
            <p:nvPr>
              <p:custDataLst>
                <p:tags r:id="rId225"/>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810" name="Picture 35" descr="C:\Users\mattha\AppData\Local\Microsoft\Windows\Temporary Internet Files\Content.IE5\GIPOTG0L\MC900389208[1].wmf"/>
            <p:cNvPicPr>
              <a:picLocks noChangeAspect="1" noChangeArrowheads="1"/>
            </p:cNvPicPr>
            <p:nvPr>
              <p:custDataLst>
                <p:tags r:id="rId226"/>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811" name="Picture 5"/>
            <p:cNvPicPr>
              <a:picLocks noChangeAspect="1" noChangeArrowheads="1"/>
            </p:cNvPicPr>
            <p:nvPr>
              <p:custDataLst>
                <p:tags r:id="rId227"/>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812" name="Picture 48" descr="C:\Users\mattha\AppData\Local\Microsoft\Windows\Temporary Internet Files\Content.IE5\2H1X03YN\MC900431595[1].png"/>
            <p:cNvPicPr>
              <a:picLocks noChangeAspect="1" noChangeArrowheads="1"/>
            </p:cNvPicPr>
            <p:nvPr>
              <p:custDataLst>
                <p:tags r:id="rId228"/>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813" name="Picture 50" descr="C:\Users\mattha\AppData\Local\Microsoft\Windows\Temporary Internet Files\Content.IE5\DT8ZIQ2F\MC900389384[1].wmf"/>
            <p:cNvPicPr>
              <a:picLocks noChangeAspect="1" noChangeArrowheads="1"/>
            </p:cNvPicPr>
            <p:nvPr>
              <p:custDataLst>
                <p:tags r:id="rId229"/>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814" name="Picture 53" descr="C:\Users\mattha\AppData\Local\Microsoft\Windows\Temporary Internet Files\Content.IE5\GIPOTG0L\MC900039023[1].wmf"/>
            <p:cNvPicPr>
              <a:picLocks noChangeAspect="1" noChangeArrowheads="1"/>
            </p:cNvPicPr>
            <p:nvPr>
              <p:custDataLst>
                <p:tags r:id="rId230"/>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815" name="Picture 54" descr="C:\Users\mattha\AppData\Local\Microsoft\Windows\Temporary Internet Files\Content.IE5\GIPOTG0L\MC900431584[1].png"/>
            <p:cNvPicPr>
              <a:picLocks noChangeAspect="1" noChangeArrowheads="1"/>
            </p:cNvPicPr>
            <p:nvPr>
              <p:custDataLst>
                <p:tags r:id="rId231"/>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816" name="Picture 57" descr="C:\Users\mattha\AppData\Local\Microsoft\Windows\Temporary Internet Files\Content.IE5\GIPOTG0L\MC900412770[1].wmf"/>
            <p:cNvPicPr>
              <a:picLocks noChangeAspect="1" noChangeArrowheads="1"/>
            </p:cNvPicPr>
            <p:nvPr>
              <p:custDataLst>
                <p:tags r:id="rId232"/>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817" name="Picture 66" descr="C:\Users\mattha\AppData\Local\Microsoft\Windows\Temporary Internet Files\Content.IE5\GIPOTG0L\MC900442092[1].wmf"/>
            <p:cNvPicPr>
              <a:picLocks noChangeAspect="1" noChangeArrowheads="1"/>
            </p:cNvPicPr>
            <p:nvPr>
              <p:custDataLst>
                <p:tags r:id="rId233"/>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440"/>
            <p:cNvGrpSpPr/>
            <p:nvPr>
              <p:custDataLst>
                <p:tags r:id="rId234"/>
              </p:custDataLst>
            </p:nvPr>
          </p:nvGrpSpPr>
          <p:grpSpPr>
            <a:xfrm>
              <a:off x="5244368" y="2613724"/>
              <a:ext cx="249647" cy="251917"/>
              <a:chOff x="7230319" y="326252"/>
              <a:chExt cx="506784" cy="510648"/>
            </a:xfrm>
          </p:grpSpPr>
          <p:pic>
            <p:nvPicPr>
              <p:cNvPr id="863" name="Picture 5"/>
              <p:cNvPicPr>
                <a:picLocks noChangeAspect="1" noChangeArrowheads="1"/>
              </p:cNvPicPr>
              <p:nvPr>
                <p:custDataLst>
                  <p:tags r:id="rId244"/>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864" name="Picture 17"/>
              <p:cNvPicPr>
                <a:picLocks noChangeAspect="1" noChangeArrowheads="1"/>
              </p:cNvPicPr>
              <p:nvPr>
                <p:custDataLst>
                  <p:tags r:id="rId245"/>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865" name="Picture 17"/>
              <p:cNvPicPr>
                <a:picLocks noChangeAspect="1" noChangeArrowheads="1"/>
              </p:cNvPicPr>
              <p:nvPr>
                <p:custDataLst>
                  <p:tags r:id="rId246"/>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866" name="Picture 5"/>
              <p:cNvPicPr>
                <a:picLocks noChangeAspect="1" noChangeArrowheads="1"/>
              </p:cNvPicPr>
              <p:nvPr>
                <p:custDataLst>
                  <p:tags r:id="rId247"/>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867" name="Picture 17"/>
              <p:cNvPicPr>
                <a:picLocks noChangeAspect="1" noChangeArrowheads="1"/>
              </p:cNvPicPr>
              <p:nvPr>
                <p:custDataLst>
                  <p:tags r:id="rId248"/>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868" name="Picture 5"/>
              <p:cNvPicPr>
                <a:picLocks noChangeAspect="1" noChangeArrowheads="1"/>
              </p:cNvPicPr>
              <p:nvPr>
                <p:custDataLst>
                  <p:tags r:id="rId249"/>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819" name="Rectangle 5"/>
            <p:cNvSpPr>
              <a:spLocks noChangeArrowheads="1"/>
            </p:cNvSpPr>
            <p:nvPr>
              <p:custDataLst>
                <p:tags r:id="rId235"/>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820" name="TextBox 819"/>
            <p:cNvSpPr txBox="1"/>
            <p:nvPr>
              <p:custDataLst>
                <p:tags r:id="rId236"/>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821" name="Picture 5"/>
            <p:cNvPicPr>
              <a:picLocks noChangeAspect="1" noChangeArrowheads="1"/>
            </p:cNvPicPr>
            <p:nvPr>
              <p:custDataLst>
                <p:tags r:id="rId237"/>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822" name="Picture 87" descr="C:\Users\mattha\AppData\Local\Microsoft\Windows\Temporary Internet Files\Content.IE5\DT8ZIQ2F\MC910216326[1].png"/>
            <p:cNvPicPr>
              <a:picLocks noChangeAspect="1" noChangeArrowheads="1"/>
            </p:cNvPicPr>
            <p:nvPr>
              <p:custDataLst>
                <p:tags r:id="rId238"/>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823" name="Picture 4" descr="Data Chart Clip Art"/>
            <p:cNvPicPr>
              <a:picLocks noChangeAspect="1" noChangeArrowheads="1"/>
            </p:cNvPicPr>
            <p:nvPr>
              <p:custDataLst>
                <p:tags r:id="rId239"/>
              </p:custDataLst>
            </p:nvPr>
          </p:nvPicPr>
          <p:blipFill>
            <a:blip r:embed="rId596" cstate="print"/>
            <a:srcRect/>
            <a:stretch>
              <a:fillRect/>
            </a:stretch>
          </p:blipFill>
          <p:spPr bwMode="auto">
            <a:xfrm>
              <a:off x="3571875" y="2470595"/>
              <a:ext cx="247650" cy="236093"/>
            </a:xfrm>
            <a:prstGeom prst="rect">
              <a:avLst/>
            </a:prstGeom>
            <a:noFill/>
          </p:spPr>
        </p:pic>
        <p:grpSp>
          <p:nvGrpSpPr>
            <p:cNvPr id="32" name="Group 848"/>
            <p:cNvGrpSpPr/>
            <p:nvPr>
              <p:custDataLst>
                <p:tags r:id="rId240"/>
              </p:custDataLst>
            </p:nvPr>
          </p:nvGrpSpPr>
          <p:grpSpPr>
            <a:xfrm>
              <a:off x="2257425" y="3627438"/>
              <a:ext cx="274638" cy="333375"/>
              <a:chOff x="2257425" y="3627438"/>
              <a:chExt cx="274638" cy="333375"/>
            </a:xfrm>
          </p:grpSpPr>
          <p:sp>
            <p:nvSpPr>
              <p:cNvPr id="828"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29"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0"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1"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2"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3"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4"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5"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6"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7"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8"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9"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0"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1"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2"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3"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4"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5"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6"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7"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8"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9"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61"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62"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825" name="Rectangle 5"/>
            <p:cNvSpPr>
              <a:spLocks noChangeArrowheads="1"/>
            </p:cNvSpPr>
            <p:nvPr>
              <p:custDataLst>
                <p:tags r:id="rId241"/>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826" name="Picture 2" descr="https://encrypted-tbn1.google.com/images?q=tbn:ANd9GcQ2iDgw2b5ZvUXP-l4Qh60g3Q0yQgF2uKGxP2r60bac0hT5CFlVgw"/>
            <p:cNvPicPr>
              <a:picLocks noChangeAspect="1" noChangeArrowheads="1"/>
            </p:cNvPicPr>
            <p:nvPr>
              <p:custDataLst>
                <p:tags r:id="rId242"/>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827" name="Picture 3"/>
            <p:cNvPicPr>
              <a:picLocks noChangeAspect="1" noChangeArrowheads="1"/>
            </p:cNvPicPr>
            <p:nvPr>
              <p:custDataLst>
                <p:tags r:id="rId243"/>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33" name="Group 878"/>
          <p:cNvGrpSpPr/>
          <p:nvPr/>
        </p:nvGrpSpPr>
        <p:grpSpPr>
          <a:xfrm>
            <a:off x="1524004" y="-743849"/>
            <a:ext cx="9126743" cy="7601849"/>
            <a:chOff x="0" y="-743849"/>
            <a:chExt cx="9126743" cy="7601849"/>
          </a:xfrm>
        </p:grpSpPr>
        <p:sp>
          <p:nvSpPr>
            <p:cNvPr id="880" name="Rectangle 5"/>
            <p:cNvSpPr>
              <a:spLocks noChangeArrowheads="1"/>
            </p:cNvSpPr>
            <p:nvPr>
              <p:custDataLst>
                <p:tags r:id="rId101"/>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881" name="Rounded Rectangle 880"/>
            <p:cNvSpPr/>
            <p:nvPr>
              <p:custDataLst>
                <p:tags r:id="rId102"/>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882" name="Rectangle 5"/>
            <p:cNvSpPr>
              <a:spLocks noChangeArrowheads="1"/>
            </p:cNvSpPr>
            <p:nvPr>
              <p:custDataLst>
                <p:tags r:id="rId103"/>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883" name="Rectangle 5"/>
            <p:cNvSpPr>
              <a:spLocks noChangeArrowheads="1"/>
            </p:cNvSpPr>
            <p:nvPr>
              <p:custDataLst>
                <p:tags r:id="rId104"/>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884" name="Rectangle 5"/>
            <p:cNvSpPr>
              <a:spLocks noChangeArrowheads="1"/>
            </p:cNvSpPr>
            <p:nvPr>
              <p:custDataLst>
                <p:tags r:id="rId105"/>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885" name="Rectangle 5"/>
            <p:cNvSpPr>
              <a:spLocks noChangeArrowheads="1"/>
            </p:cNvSpPr>
            <p:nvPr>
              <p:custDataLst>
                <p:tags r:id="rId106"/>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886" name="Rectangle 5"/>
            <p:cNvSpPr>
              <a:spLocks noChangeArrowheads="1"/>
            </p:cNvSpPr>
            <p:nvPr>
              <p:custDataLst>
                <p:tags r:id="rId107"/>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887" name="Chord 886"/>
            <p:cNvSpPr/>
            <p:nvPr>
              <p:custDataLst>
                <p:tags r:id="rId108"/>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88" name="Chord 887"/>
            <p:cNvSpPr/>
            <p:nvPr>
              <p:custDataLst>
                <p:tags r:id="rId109"/>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889" name="Chord 888"/>
            <p:cNvSpPr/>
            <p:nvPr>
              <p:custDataLst>
                <p:tags r:id="rId110"/>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90" name="Chord 889"/>
            <p:cNvSpPr/>
            <p:nvPr>
              <p:custDataLst>
                <p:tags r:id="rId111"/>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891" name="Straight Connector 890"/>
            <p:cNvCxnSpPr/>
            <p:nvPr>
              <p:custDataLst>
                <p:tags r:id="rId112"/>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892" name="Straight Connector 891"/>
            <p:cNvCxnSpPr/>
            <p:nvPr>
              <p:custDataLst>
                <p:tags r:id="rId113"/>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893" name="Rectangle 5"/>
            <p:cNvSpPr>
              <a:spLocks noChangeArrowheads="1"/>
            </p:cNvSpPr>
            <p:nvPr>
              <p:custDataLst>
                <p:tags r:id="rId114"/>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894" name="Rectangle 5"/>
            <p:cNvSpPr>
              <a:spLocks noChangeArrowheads="1"/>
            </p:cNvSpPr>
            <p:nvPr>
              <p:custDataLst>
                <p:tags r:id="rId115"/>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895" name="Rectangle 5"/>
            <p:cNvSpPr>
              <a:spLocks noChangeArrowheads="1"/>
            </p:cNvSpPr>
            <p:nvPr>
              <p:custDataLst>
                <p:tags r:id="rId116"/>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896" name="Straight Connector 895"/>
            <p:cNvCxnSpPr/>
            <p:nvPr>
              <p:custDataLst>
                <p:tags r:id="rId117"/>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897" name="Rectangle 5"/>
            <p:cNvSpPr>
              <a:spLocks noChangeArrowheads="1"/>
            </p:cNvSpPr>
            <p:nvPr>
              <p:custDataLst>
                <p:tags r:id="rId118"/>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898" name="Rectangle 5"/>
            <p:cNvSpPr>
              <a:spLocks noChangeArrowheads="1"/>
            </p:cNvSpPr>
            <p:nvPr>
              <p:custDataLst>
                <p:tags r:id="rId119"/>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899" name="Straight Connector 898"/>
            <p:cNvCxnSpPr/>
            <p:nvPr>
              <p:custDataLst>
                <p:tags r:id="rId120"/>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900" name="Straight Connector 899"/>
            <p:cNvCxnSpPr/>
            <p:nvPr>
              <p:custDataLst>
                <p:tags r:id="rId121"/>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901" name="Rectangle 5"/>
            <p:cNvSpPr>
              <a:spLocks noChangeArrowheads="1"/>
            </p:cNvSpPr>
            <p:nvPr>
              <p:custDataLst>
                <p:tags r:id="rId122"/>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902" name="Rectangle 5"/>
            <p:cNvSpPr>
              <a:spLocks noChangeArrowheads="1"/>
            </p:cNvSpPr>
            <p:nvPr>
              <p:custDataLst>
                <p:tags r:id="rId123"/>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903" name="Picture 5"/>
            <p:cNvPicPr>
              <a:picLocks noChangeAspect="1" noChangeArrowheads="1"/>
            </p:cNvPicPr>
            <p:nvPr>
              <p:custDataLst>
                <p:tags r:id="rId124"/>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904" name="Rectangle 5"/>
            <p:cNvSpPr>
              <a:spLocks noChangeArrowheads="1"/>
            </p:cNvSpPr>
            <p:nvPr>
              <p:custDataLst>
                <p:tags r:id="rId125"/>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905" name="Straight Connector 904"/>
            <p:cNvCxnSpPr/>
            <p:nvPr>
              <p:custDataLst>
                <p:tags r:id="rId126"/>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906" name="Rectangle 5"/>
            <p:cNvSpPr>
              <a:spLocks noChangeArrowheads="1"/>
            </p:cNvSpPr>
            <p:nvPr>
              <p:custDataLst>
                <p:tags r:id="rId127"/>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907" name="Rectangle 5"/>
            <p:cNvSpPr>
              <a:spLocks noChangeArrowheads="1"/>
            </p:cNvSpPr>
            <p:nvPr>
              <p:custDataLst>
                <p:tags r:id="rId128"/>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908" name="Rectangle 5"/>
            <p:cNvSpPr>
              <a:spLocks noChangeArrowheads="1"/>
            </p:cNvSpPr>
            <p:nvPr>
              <p:custDataLst>
                <p:tags r:id="rId129"/>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34" name="Group 927"/>
            <p:cNvGrpSpPr/>
            <p:nvPr>
              <p:custDataLst>
                <p:tags r:id="rId130"/>
              </p:custDataLst>
            </p:nvPr>
          </p:nvGrpSpPr>
          <p:grpSpPr>
            <a:xfrm>
              <a:off x="2375776" y="2430017"/>
              <a:ext cx="532015" cy="444343"/>
              <a:chOff x="5085316" y="2082799"/>
              <a:chExt cx="777013" cy="639762"/>
            </a:xfrm>
          </p:grpSpPr>
          <p:sp>
            <p:nvSpPr>
              <p:cNvPr id="990" name="Freeform 25"/>
              <p:cNvSpPr>
                <a:spLocks noChangeAspect="1"/>
              </p:cNvSpPr>
              <p:nvPr>
                <p:custDataLst>
                  <p:tags r:id="rId178"/>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991"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992"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993"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910" name="Rectangle 5"/>
            <p:cNvSpPr>
              <a:spLocks noChangeArrowheads="1"/>
            </p:cNvSpPr>
            <p:nvPr>
              <p:custDataLst>
                <p:tags r:id="rId131"/>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911" name="Rectangle 5"/>
            <p:cNvSpPr>
              <a:spLocks noChangeArrowheads="1"/>
            </p:cNvSpPr>
            <p:nvPr>
              <p:custDataLst>
                <p:tags r:id="rId132"/>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912" name="Rectangle 5"/>
            <p:cNvSpPr>
              <a:spLocks noChangeArrowheads="1"/>
            </p:cNvSpPr>
            <p:nvPr>
              <p:custDataLst>
                <p:tags r:id="rId133"/>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913" name="Rectangle 5"/>
            <p:cNvSpPr>
              <a:spLocks noChangeArrowheads="1"/>
            </p:cNvSpPr>
            <p:nvPr>
              <p:custDataLst>
                <p:tags r:id="rId134"/>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914" name="Picture 21"/>
            <p:cNvPicPr>
              <a:picLocks noChangeAspect="1" noChangeArrowheads="1"/>
            </p:cNvPicPr>
            <p:nvPr>
              <p:custDataLst>
                <p:tags r:id="rId135"/>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915" name="Rectangle 5"/>
            <p:cNvSpPr>
              <a:spLocks noChangeArrowheads="1"/>
            </p:cNvSpPr>
            <p:nvPr>
              <p:custDataLst>
                <p:tags r:id="rId136"/>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916" name="Picture 5"/>
            <p:cNvPicPr>
              <a:picLocks noChangeAspect="1" noChangeArrowheads="1"/>
            </p:cNvPicPr>
            <p:nvPr>
              <p:custDataLst>
                <p:tags r:id="rId137"/>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917" name="Straight Connector 916"/>
            <p:cNvCxnSpPr/>
            <p:nvPr>
              <p:custDataLst>
                <p:tags r:id="rId138"/>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918" name="Rectangle 5"/>
            <p:cNvSpPr>
              <a:spLocks noChangeArrowheads="1"/>
            </p:cNvSpPr>
            <p:nvPr>
              <p:custDataLst>
                <p:tags r:id="rId139"/>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919" name="Rectangle 5"/>
            <p:cNvSpPr>
              <a:spLocks noChangeArrowheads="1"/>
            </p:cNvSpPr>
            <p:nvPr>
              <p:custDataLst>
                <p:tags r:id="rId140"/>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35" name="Group 435"/>
            <p:cNvGrpSpPr/>
            <p:nvPr>
              <p:custDataLst>
                <p:tags r:id="rId141"/>
              </p:custDataLst>
            </p:nvPr>
          </p:nvGrpSpPr>
          <p:grpSpPr>
            <a:xfrm>
              <a:off x="5851932" y="2523591"/>
              <a:ext cx="249647" cy="251917"/>
              <a:chOff x="7230319" y="326252"/>
              <a:chExt cx="506784" cy="510648"/>
            </a:xfrm>
          </p:grpSpPr>
          <p:pic>
            <p:nvPicPr>
              <p:cNvPr id="984" name="Picture 5"/>
              <p:cNvPicPr>
                <a:picLocks noChangeAspect="1" noChangeArrowheads="1"/>
              </p:cNvPicPr>
              <p:nvPr>
                <p:custDataLst>
                  <p:tags r:id="rId172"/>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985" name="Picture 17"/>
              <p:cNvPicPr>
                <a:picLocks noChangeAspect="1" noChangeArrowheads="1"/>
              </p:cNvPicPr>
              <p:nvPr>
                <p:custDataLst>
                  <p:tags r:id="rId173"/>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986" name="Picture 17"/>
              <p:cNvPicPr>
                <a:picLocks noChangeAspect="1" noChangeArrowheads="1"/>
              </p:cNvPicPr>
              <p:nvPr>
                <p:custDataLst>
                  <p:tags r:id="rId174"/>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987" name="Picture 5"/>
              <p:cNvPicPr>
                <a:picLocks noChangeAspect="1" noChangeArrowheads="1"/>
              </p:cNvPicPr>
              <p:nvPr>
                <p:custDataLst>
                  <p:tags r:id="rId175"/>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988" name="Picture 17"/>
              <p:cNvPicPr>
                <a:picLocks noChangeAspect="1" noChangeArrowheads="1"/>
              </p:cNvPicPr>
              <p:nvPr>
                <p:custDataLst>
                  <p:tags r:id="rId176"/>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989" name="Picture 5"/>
              <p:cNvPicPr>
                <a:picLocks noChangeAspect="1" noChangeArrowheads="1"/>
              </p:cNvPicPr>
              <p:nvPr>
                <p:custDataLst>
                  <p:tags r:id="rId177"/>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921" name="Rectangle 5"/>
            <p:cNvSpPr>
              <a:spLocks noChangeArrowheads="1"/>
            </p:cNvSpPr>
            <p:nvPr>
              <p:custDataLst>
                <p:tags r:id="rId142"/>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922" name="Picture 7" descr="C:\Users\mattha\AppData\Local\Microsoft\Windows\Temporary Internet Files\Content.IE5\A0YJT0Y2\MC900368410[1].wmf"/>
            <p:cNvPicPr>
              <a:picLocks noChangeAspect="1" noChangeArrowheads="1"/>
            </p:cNvPicPr>
            <p:nvPr>
              <p:custDataLst>
                <p:tags r:id="rId143"/>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923" name="Picture 9" descr="C:\Users\mattha\AppData\Local\Microsoft\Windows\Temporary Internet Files\Content.IE5\WZUD8JML\MC900286861[1].wmf"/>
            <p:cNvPicPr>
              <a:picLocks noChangeAspect="1" noChangeArrowheads="1"/>
            </p:cNvPicPr>
            <p:nvPr>
              <p:custDataLst>
                <p:tags r:id="rId144"/>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924" name="Picture 15" descr="C:\Users\mattha\AppData\Local\Microsoft\Windows\Temporary Internet Files\Content.IE5\6RMOFZA8\MC900434820[1].png"/>
            <p:cNvPicPr>
              <a:picLocks noChangeAspect="1" noChangeArrowheads="1"/>
            </p:cNvPicPr>
            <p:nvPr>
              <p:custDataLst>
                <p:tags r:id="rId145"/>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925" name="Rectangle 5"/>
            <p:cNvSpPr>
              <a:spLocks noChangeArrowheads="1"/>
            </p:cNvSpPr>
            <p:nvPr>
              <p:custDataLst>
                <p:tags r:id="rId146"/>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926" name="Picture 27" descr="C:\Users\mattha\AppData\Local\Microsoft\Windows\Temporary Internet Files\Content.IE5\DT8ZIQ2F\MC900434829[1].png"/>
            <p:cNvPicPr>
              <a:picLocks noChangeAspect="1" noChangeArrowheads="1"/>
            </p:cNvPicPr>
            <p:nvPr>
              <p:custDataLst>
                <p:tags r:id="rId147"/>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927" name="Picture 35" descr="C:\Users\mattha\AppData\Local\Microsoft\Windows\Temporary Internet Files\Content.IE5\GIPOTG0L\MC900389208[1].wmf"/>
            <p:cNvPicPr>
              <a:picLocks noChangeAspect="1" noChangeArrowheads="1"/>
            </p:cNvPicPr>
            <p:nvPr>
              <p:custDataLst>
                <p:tags r:id="rId148"/>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928" name="Picture 5"/>
            <p:cNvPicPr>
              <a:picLocks noChangeAspect="1" noChangeArrowheads="1"/>
            </p:cNvPicPr>
            <p:nvPr>
              <p:custDataLst>
                <p:tags r:id="rId149"/>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929" name="Picture 48" descr="C:\Users\mattha\AppData\Local\Microsoft\Windows\Temporary Internet Files\Content.IE5\2H1X03YN\MC900431595[1].png"/>
            <p:cNvPicPr>
              <a:picLocks noChangeAspect="1" noChangeArrowheads="1"/>
            </p:cNvPicPr>
            <p:nvPr>
              <p:custDataLst>
                <p:tags r:id="rId150"/>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930" name="Picture 50" descr="C:\Users\mattha\AppData\Local\Microsoft\Windows\Temporary Internet Files\Content.IE5\DT8ZIQ2F\MC900389384[1].wmf"/>
            <p:cNvPicPr>
              <a:picLocks noChangeAspect="1" noChangeArrowheads="1"/>
            </p:cNvPicPr>
            <p:nvPr>
              <p:custDataLst>
                <p:tags r:id="rId151"/>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931" name="Picture 53" descr="C:\Users\mattha\AppData\Local\Microsoft\Windows\Temporary Internet Files\Content.IE5\GIPOTG0L\MC900039023[1].wmf"/>
            <p:cNvPicPr>
              <a:picLocks noChangeAspect="1" noChangeArrowheads="1"/>
            </p:cNvPicPr>
            <p:nvPr>
              <p:custDataLst>
                <p:tags r:id="rId152"/>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932" name="Picture 54" descr="C:\Users\mattha\AppData\Local\Microsoft\Windows\Temporary Internet Files\Content.IE5\GIPOTG0L\MC900431584[1].png"/>
            <p:cNvPicPr>
              <a:picLocks noChangeAspect="1" noChangeArrowheads="1"/>
            </p:cNvPicPr>
            <p:nvPr>
              <p:custDataLst>
                <p:tags r:id="rId153"/>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933" name="Picture 57" descr="C:\Users\mattha\AppData\Local\Microsoft\Windows\Temporary Internet Files\Content.IE5\GIPOTG0L\MC900412770[1].wmf"/>
            <p:cNvPicPr>
              <a:picLocks noChangeAspect="1" noChangeArrowheads="1"/>
            </p:cNvPicPr>
            <p:nvPr>
              <p:custDataLst>
                <p:tags r:id="rId154"/>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934" name="Picture 66" descr="C:\Users\mattha\AppData\Local\Microsoft\Windows\Temporary Internet Files\Content.IE5\GIPOTG0L\MC900442092[1].wmf"/>
            <p:cNvPicPr>
              <a:picLocks noChangeAspect="1" noChangeArrowheads="1"/>
            </p:cNvPicPr>
            <p:nvPr>
              <p:custDataLst>
                <p:tags r:id="rId155"/>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440"/>
            <p:cNvGrpSpPr/>
            <p:nvPr>
              <p:custDataLst>
                <p:tags r:id="rId156"/>
              </p:custDataLst>
            </p:nvPr>
          </p:nvGrpSpPr>
          <p:grpSpPr>
            <a:xfrm>
              <a:off x="5244368" y="2613724"/>
              <a:ext cx="249647" cy="251917"/>
              <a:chOff x="7230319" y="326252"/>
              <a:chExt cx="506784" cy="510648"/>
            </a:xfrm>
          </p:grpSpPr>
          <p:pic>
            <p:nvPicPr>
              <p:cNvPr id="978" name="Picture 5"/>
              <p:cNvPicPr>
                <a:picLocks noChangeAspect="1" noChangeArrowheads="1"/>
              </p:cNvPicPr>
              <p:nvPr>
                <p:custDataLst>
                  <p:tags r:id="rId166"/>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979" name="Picture 17"/>
              <p:cNvPicPr>
                <a:picLocks noChangeAspect="1" noChangeArrowheads="1"/>
              </p:cNvPicPr>
              <p:nvPr>
                <p:custDataLst>
                  <p:tags r:id="rId167"/>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980" name="Picture 17"/>
              <p:cNvPicPr>
                <a:picLocks noChangeAspect="1" noChangeArrowheads="1"/>
              </p:cNvPicPr>
              <p:nvPr>
                <p:custDataLst>
                  <p:tags r:id="rId168"/>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981" name="Picture 5"/>
              <p:cNvPicPr>
                <a:picLocks noChangeAspect="1" noChangeArrowheads="1"/>
              </p:cNvPicPr>
              <p:nvPr>
                <p:custDataLst>
                  <p:tags r:id="rId169"/>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982" name="Picture 17"/>
              <p:cNvPicPr>
                <a:picLocks noChangeAspect="1" noChangeArrowheads="1"/>
              </p:cNvPicPr>
              <p:nvPr>
                <p:custDataLst>
                  <p:tags r:id="rId170"/>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983" name="Picture 5"/>
              <p:cNvPicPr>
                <a:picLocks noChangeAspect="1" noChangeArrowheads="1"/>
              </p:cNvPicPr>
              <p:nvPr>
                <p:custDataLst>
                  <p:tags r:id="rId171"/>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936" name="Rectangle 5"/>
            <p:cNvSpPr>
              <a:spLocks noChangeArrowheads="1"/>
            </p:cNvSpPr>
            <p:nvPr>
              <p:custDataLst>
                <p:tags r:id="rId157"/>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937" name="TextBox 936"/>
            <p:cNvSpPr txBox="1"/>
            <p:nvPr>
              <p:custDataLst>
                <p:tags r:id="rId158"/>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938" name="Picture 5"/>
            <p:cNvPicPr>
              <a:picLocks noChangeAspect="1" noChangeArrowheads="1"/>
            </p:cNvPicPr>
            <p:nvPr>
              <p:custDataLst>
                <p:tags r:id="rId159"/>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939" name="Picture 87" descr="C:\Users\mattha\AppData\Local\Microsoft\Windows\Temporary Internet Files\Content.IE5\DT8ZIQ2F\MC910216326[1].png"/>
            <p:cNvPicPr>
              <a:picLocks noChangeAspect="1" noChangeArrowheads="1"/>
            </p:cNvPicPr>
            <p:nvPr>
              <p:custDataLst>
                <p:tags r:id="rId160"/>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940" name="Picture 4" descr="Data Chart Clip Art"/>
            <p:cNvPicPr>
              <a:picLocks noChangeAspect="1" noChangeArrowheads="1"/>
            </p:cNvPicPr>
            <p:nvPr>
              <p:custDataLst>
                <p:tags r:id="rId161"/>
              </p:custDataLst>
            </p:nvPr>
          </p:nvPicPr>
          <p:blipFill>
            <a:blip r:embed="rId596" cstate="print"/>
            <a:srcRect/>
            <a:stretch>
              <a:fillRect/>
            </a:stretch>
          </p:blipFill>
          <p:spPr bwMode="auto">
            <a:xfrm>
              <a:off x="3571875" y="2470595"/>
              <a:ext cx="247650" cy="236093"/>
            </a:xfrm>
            <a:prstGeom prst="rect">
              <a:avLst/>
            </a:prstGeom>
            <a:noFill/>
          </p:spPr>
        </p:pic>
        <p:grpSp>
          <p:nvGrpSpPr>
            <p:cNvPr id="37" name="Group 848"/>
            <p:cNvGrpSpPr/>
            <p:nvPr>
              <p:custDataLst>
                <p:tags r:id="rId162"/>
              </p:custDataLst>
            </p:nvPr>
          </p:nvGrpSpPr>
          <p:grpSpPr>
            <a:xfrm>
              <a:off x="2257425" y="3627438"/>
              <a:ext cx="274638" cy="333375"/>
              <a:chOff x="2257425" y="3627438"/>
              <a:chExt cx="274638" cy="333375"/>
            </a:xfrm>
          </p:grpSpPr>
          <p:sp>
            <p:nvSpPr>
              <p:cNvPr id="945"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6"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7"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8"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9"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0"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1"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2"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3"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4"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5"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6"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7"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8"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9"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0"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1"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2"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3"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4"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5"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6"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7"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8"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9"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0"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1"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2"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3"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4"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5"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6"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7"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942" name="Rectangle 5"/>
            <p:cNvSpPr>
              <a:spLocks noChangeArrowheads="1"/>
            </p:cNvSpPr>
            <p:nvPr>
              <p:custDataLst>
                <p:tags r:id="rId163"/>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943" name="Picture 2" descr="https://encrypted-tbn1.google.com/images?q=tbn:ANd9GcQ2iDgw2b5ZvUXP-l4Qh60g3Q0yQgF2uKGxP2r60bac0hT5CFlVgw"/>
            <p:cNvPicPr>
              <a:picLocks noChangeAspect="1" noChangeArrowheads="1"/>
            </p:cNvPicPr>
            <p:nvPr>
              <p:custDataLst>
                <p:tags r:id="rId164"/>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944" name="Picture 3"/>
            <p:cNvPicPr>
              <a:picLocks noChangeAspect="1" noChangeArrowheads="1"/>
            </p:cNvPicPr>
            <p:nvPr>
              <p:custDataLst>
                <p:tags r:id="rId165"/>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sp>
        <p:nvSpPr>
          <p:cNvPr id="994" name="Rounded Rectangle 993"/>
          <p:cNvSpPr/>
          <p:nvPr>
            <p:custDataLst>
              <p:tags r:id="rId3"/>
            </p:custDataLst>
          </p:nvPr>
        </p:nvSpPr>
        <p:spPr>
          <a:xfrm>
            <a:off x="1714756" y="6599273"/>
            <a:ext cx="1619348" cy="189781"/>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System components</a:t>
            </a:r>
          </a:p>
        </p:txBody>
      </p:sp>
      <p:grpSp>
        <p:nvGrpSpPr>
          <p:cNvPr id="38" name="Group 994"/>
          <p:cNvGrpSpPr/>
          <p:nvPr>
            <p:custDataLst>
              <p:tags r:id="rId4"/>
            </p:custDataLst>
          </p:nvPr>
        </p:nvGrpSpPr>
        <p:grpSpPr>
          <a:xfrm>
            <a:off x="3111236" y="5877943"/>
            <a:ext cx="2000402" cy="402028"/>
            <a:chOff x="1587236" y="5882315"/>
            <a:chExt cx="2000402" cy="402028"/>
          </a:xfrm>
        </p:grpSpPr>
        <p:sp>
          <p:nvSpPr>
            <p:cNvPr id="996" name="Rectangle 5"/>
            <p:cNvSpPr>
              <a:spLocks noChangeArrowheads="1"/>
            </p:cNvSpPr>
            <p:nvPr>
              <p:custDataLst>
                <p:tags r:id="rId99"/>
              </p:custDataLst>
            </p:nvPr>
          </p:nvSpPr>
          <p:spPr bwMode="gray">
            <a:xfrm>
              <a:off x="1624458" y="5943600"/>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997" name="Rounded Rectangle 996"/>
            <p:cNvSpPr/>
            <p:nvPr>
              <p:custDataLst>
                <p:tags r:id="rId100"/>
              </p:custDataLst>
            </p:nvPr>
          </p:nvSpPr>
          <p:spPr>
            <a:xfrm>
              <a:off x="1587236" y="5882315"/>
              <a:ext cx="2000402" cy="402028"/>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546" rIns="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Political commitment</a:t>
              </a:r>
            </a:p>
          </p:txBody>
        </p:sp>
      </p:grpSp>
      <p:grpSp>
        <p:nvGrpSpPr>
          <p:cNvPr id="39" name="Group 997"/>
          <p:cNvGrpSpPr/>
          <p:nvPr>
            <p:custDataLst>
              <p:tags r:id="rId5"/>
            </p:custDataLst>
          </p:nvPr>
        </p:nvGrpSpPr>
        <p:grpSpPr>
          <a:xfrm>
            <a:off x="5256961" y="5877943"/>
            <a:ext cx="2006600" cy="406400"/>
            <a:chOff x="3722700" y="5877943"/>
            <a:chExt cx="2006600" cy="406400"/>
          </a:xfrm>
        </p:grpSpPr>
        <p:sp>
          <p:nvSpPr>
            <p:cNvPr id="999" name="Rectangle 5"/>
            <p:cNvSpPr>
              <a:spLocks noChangeArrowheads="1"/>
            </p:cNvSpPr>
            <p:nvPr>
              <p:custDataLst>
                <p:tags r:id="rId97"/>
              </p:custDataLst>
            </p:nvPr>
          </p:nvSpPr>
          <p:spPr bwMode="gray">
            <a:xfrm>
              <a:off x="3773303" y="5925836"/>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1000" name="Rounded Rectangle 999"/>
            <p:cNvSpPr/>
            <p:nvPr>
              <p:custDataLst>
                <p:tags r:id="rId98"/>
              </p:custDataLst>
            </p:nvPr>
          </p:nvSpPr>
          <p:spPr>
            <a:xfrm>
              <a:off x="3722700" y="5877943"/>
              <a:ext cx="2006600" cy="406400"/>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Financing and pricing</a:t>
              </a:r>
            </a:p>
          </p:txBody>
        </p:sp>
      </p:grpSp>
      <p:sp>
        <p:nvSpPr>
          <p:cNvPr id="1001" name="Freeform 1000"/>
          <p:cNvSpPr/>
          <p:nvPr>
            <p:custDataLst>
              <p:tags r:id="rId6"/>
            </p:custDataLst>
          </p:nvPr>
        </p:nvSpPr>
        <p:spPr bwMode="gray">
          <a:xfrm>
            <a:off x="6854593" y="1200075"/>
            <a:ext cx="2559320" cy="1286421"/>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53527 w 1702094"/>
              <a:gd name="connsiteY0" fmla="*/ 226025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648044 w 1702094"/>
              <a:gd name="connsiteY2" fmla="*/ 32097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226025 h 1201511"/>
              <a:gd name="connsiteX1" fmla="*/ 77639 w 1702094"/>
              <a:gd name="connsiteY1" fmla="*/ 215697 h 1201511"/>
              <a:gd name="connsiteX2" fmla="*/ 89463 w 1702094"/>
              <a:gd name="connsiteY2" fmla="*/ 201148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48660 h 1024146"/>
              <a:gd name="connsiteX1" fmla="*/ 77639 w 1702094"/>
              <a:gd name="connsiteY1" fmla="*/ 38332 h 1024146"/>
              <a:gd name="connsiteX2" fmla="*/ 89463 w 1702094"/>
              <a:gd name="connsiteY2" fmla="*/ 23783 h 1024146"/>
              <a:gd name="connsiteX3" fmla="*/ 135742 w 1702094"/>
              <a:gd name="connsiteY3" fmla="*/ 0 h 1024146"/>
              <a:gd name="connsiteX4" fmla="*/ 1702094 w 1702094"/>
              <a:gd name="connsiteY4" fmla="*/ 529780 h 1024146"/>
              <a:gd name="connsiteX5" fmla="*/ 1627767 w 1702094"/>
              <a:gd name="connsiteY5" fmla="*/ 609179 h 1024146"/>
              <a:gd name="connsiteX6" fmla="*/ 1526690 w 1702094"/>
              <a:gd name="connsiteY6" fmla="*/ 700838 h 1024146"/>
              <a:gd name="connsiteX7" fmla="*/ 1422699 w 1702094"/>
              <a:gd name="connsiteY7" fmla="*/ 769158 h 1024146"/>
              <a:gd name="connsiteX8" fmla="*/ 1280144 w 1702094"/>
              <a:gd name="connsiteY8" fmla="*/ 843592 h 1024146"/>
              <a:gd name="connsiteX9" fmla="*/ 1127806 w 1702094"/>
              <a:gd name="connsiteY9" fmla="*/ 916431 h 1024146"/>
              <a:gd name="connsiteX10" fmla="*/ 990279 w 1702094"/>
              <a:gd name="connsiteY10" fmla="*/ 959516 h 1024146"/>
              <a:gd name="connsiteX11" fmla="*/ 810491 w 1702094"/>
              <a:gd name="connsiteY11" fmla="*/ 1001897 h 1024146"/>
              <a:gd name="connsiteX12" fmla="*/ 586912 w 1702094"/>
              <a:gd name="connsiteY12" fmla="*/ 1024146 h 1024146"/>
              <a:gd name="connsiteX13" fmla="*/ 392889 w 1702094"/>
              <a:gd name="connsiteY13" fmla="*/ 1023078 h 1024146"/>
              <a:gd name="connsiteX14" fmla="*/ 238097 w 1702094"/>
              <a:gd name="connsiteY14" fmla="*/ 1011754 h 1024146"/>
              <a:gd name="connsiteX15" fmla="*/ 101191 w 1702094"/>
              <a:gd name="connsiteY15" fmla="*/ 989583 h 1024146"/>
              <a:gd name="connsiteX16" fmla="*/ 0 w 1702094"/>
              <a:gd name="connsiteY16" fmla="*/ 964178 h 1024146"/>
              <a:gd name="connsiteX17" fmla="*/ 53527 w 1702094"/>
              <a:gd name="connsiteY17" fmla="*/ 48660 h 1024146"/>
              <a:gd name="connsiteX0" fmla="*/ 53527 w 1627767"/>
              <a:gd name="connsiteY0" fmla="*/ 48660 h 1024146"/>
              <a:gd name="connsiteX1" fmla="*/ 77639 w 1627767"/>
              <a:gd name="connsiteY1" fmla="*/ 38332 h 1024146"/>
              <a:gd name="connsiteX2" fmla="*/ 89463 w 1627767"/>
              <a:gd name="connsiteY2" fmla="*/ 23783 h 1024146"/>
              <a:gd name="connsiteX3" fmla="*/ 135742 w 1627767"/>
              <a:gd name="connsiteY3" fmla="*/ 0 h 1024146"/>
              <a:gd name="connsiteX4" fmla="*/ 1282245 w 1627767"/>
              <a:gd name="connsiteY4" fmla="*/ 130709 h 1024146"/>
              <a:gd name="connsiteX5" fmla="*/ 1627767 w 1627767"/>
              <a:gd name="connsiteY5" fmla="*/ 609179 h 1024146"/>
              <a:gd name="connsiteX6" fmla="*/ 1526690 w 1627767"/>
              <a:gd name="connsiteY6" fmla="*/ 700838 h 1024146"/>
              <a:gd name="connsiteX7" fmla="*/ 1422699 w 1627767"/>
              <a:gd name="connsiteY7" fmla="*/ 769158 h 1024146"/>
              <a:gd name="connsiteX8" fmla="*/ 1280144 w 1627767"/>
              <a:gd name="connsiteY8" fmla="*/ 843592 h 1024146"/>
              <a:gd name="connsiteX9" fmla="*/ 1127806 w 1627767"/>
              <a:gd name="connsiteY9" fmla="*/ 916431 h 1024146"/>
              <a:gd name="connsiteX10" fmla="*/ 990279 w 1627767"/>
              <a:gd name="connsiteY10" fmla="*/ 959516 h 1024146"/>
              <a:gd name="connsiteX11" fmla="*/ 810491 w 1627767"/>
              <a:gd name="connsiteY11" fmla="*/ 1001897 h 1024146"/>
              <a:gd name="connsiteX12" fmla="*/ 586912 w 1627767"/>
              <a:gd name="connsiteY12" fmla="*/ 1024146 h 1024146"/>
              <a:gd name="connsiteX13" fmla="*/ 392889 w 1627767"/>
              <a:gd name="connsiteY13" fmla="*/ 1023078 h 1024146"/>
              <a:gd name="connsiteX14" fmla="*/ 238097 w 1627767"/>
              <a:gd name="connsiteY14" fmla="*/ 1011754 h 1024146"/>
              <a:gd name="connsiteX15" fmla="*/ 101191 w 1627767"/>
              <a:gd name="connsiteY15" fmla="*/ 989583 h 1024146"/>
              <a:gd name="connsiteX16" fmla="*/ 0 w 1627767"/>
              <a:gd name="connsiteY16" fmla="*/ 964178 h 1024146"/>
              <a:gd name="connsiteX17" fmla="*/ 53527 w 1627767"/>
              <a:gd name="connsiteY17" fmla="*/ 48660 h 1024146"/>
              <a:gd name="connsiteX0" fmla="*/ 53527 w 1526690"/>
              <a:gd name="connsiteY0" fmla="*/ 48660 h 1024146"/>
              <a:gd name="connsiteX1" fmla="*/ 77639 w 1526690"/>
              <a:gd name="connsiteY1" fmla="*/ 38332 h 1024146"/>
              <a:gd name="connsiteX2" fmla="*/ 89463 w 1526690"/>
              <a:gd name="connsiteY2" fmla="*/ 23783 h 1024146"/>
              <a:gd name="connsiteX3" fmla="*/ 135742 w 1526690"/>
              <a:gd name="connsiteY3" fmla="*/ 0 h 1024146"/>
              <a:gd name="connsiteX4" fmla="*/ 1282245 w 1526690"/>
              <a:gd name="connsiteY4" fmla="*/ 130709 h 1024146"/>
              <a:gd name="connsiteX5" fmla="*/ 1280935 w 1526690"/>
              <a:gd name="connsiteY5" fmla="*/ 201794 h 1024146"/>
              <a:gd name="connsiteX6" fmla="*/ 1526690 w 1526690"/>
              <a:gd name="connsiteY6" fmla="*/ 700838 h 1024146"/>
              <a:gd name="connsiteX7" fmla="*/ 1422699 w 1526690"/>
              <a:gd name="connsiteY7" fmla="*/ 769158 h 1024146"/>
              <a:gd name="connsiteX8" fmla="*/ 1280144 w 1526690"/>
              <a:gd name="connsiteY8" fmla="*/ 843592 h 1024146"/>
              <a:gd name="connsiteX9" fmla="*/ 1127806 w 1526690"/>
              <a:gd name="connsiteY9" fmla="*/ 916431 h 1024146"/>
              <a:gd name="connsiteX10" fmla="*/ 990279 w 1526690"/>
              <a:gd name="connsiteY10" fmla="*/ 959516 h 1024146"/>
              <a:gd name="connsiteX11" fmla="*/ 810491 w 1526690"/>
              <a:gd name="connsiteY11" fmla="*/ 1001897 h 1024146"/>
              <a:gd name="connsiteX12" fmla="*/ 586912 w 1526690"/>
              <a:gd name="connsiteY12" fmla="*/ 1024146 h 1024146"/>
              <a:gd name="connsiteX13" fmla="*/ 392889 w 1526690"/>
              <a:gd name="connsiteY13" fmla="*/ 1023078 h 1024146"/>
              <a:gd name="connsiteX14" fmla="*/ 238097 w 1526690"/>
              <a:gd name="connsiteY14" fmla="*/ 1011754 h 1024146"/>
              <a:gd name="connsiteX15" fmla="*/ 101191 w 1526690"/>
              <a:gd name="connsiteY15" fmla="*/ 989583 h 1024146"/>
              <a:gd name="connsiteX16" fmla="*/ 0 w 1526690"/>
              <a:gd name="connsiteY16" fmla="*/ 964178 h 1024146"/>
              <a:gd name="connsiteX17" fmla="*/ 53527 w 1526690"/>
              <a:gd name="connsiteY17" fmla="*/ 48660 h 1024146"/>
              <a:gd name="connsiteX0" fmla="*/ 53527 w 1422699"/>
              <a:gd name="connsiteY0" fmla="*/ 48660 h 1024146"/>
              <a:gd name="connsiteX1" fmla="*/ 77639 w 1422699"/>
              <a:gd name="connsiteY1" fmla="*/ 38332 h 1024146"/>
              <a:gd name="connsiteX2" fmla="*/ 89463 w 1422699"/>
              <a:gd name="connsiteY2" fmla="*/ 23783 h 1024146"/>
              <a:gd name="connsiteX3" fmla="*/ 135742 w 1422699"/>
              <a:gd name="connsiteY3" fmla="*/ 0 h 1024146"/>
              <a:gd name="connsiteX4" fmla="*/ 1282245 w 1422699"/>
              <a:gd name="connsiteY4" fmla="*/ 130709 h 1024146"/>
              <a:gd name="connsiteX5" fmla="*/ 1280935 w 1422699"/>
              <a:gd name="connsiteY5" fmla="*/ 201794 h 1024146"/>
              <a:gd name="connsiteX6" fmla="*/ 1278431 w 1422699"/>
              <a:gd name="connsiteY6" fmla="*/ 251883 h 1024146"/>
              <a:gd name="connsiteX7" fmla="*/ 1422699 w 1422699"/>
              <a:gd name="connsiteY7" fmla="*/ 769158 h 1024146"/>
              <a:gd name="connsiteX8" fmla="*/ 1280144 w 1422699"/>
              <a:gd name="connsiteY8" fmla="*/ 843592 h 1024146"/>
              <a:gd name="connsiteX9" fmla="*/ 1127806 w 1422699"/>
              <a:gd name="connsiteY9" fmla="*/ 916431 h 1024146"/>
              <a:gd name="connsiteX10" fmla="*/ 990279 w 1422699"/>
              <a:gd name="connsiteY10" fmla="*/ 959516 h 1024146"/>
              <a:gd name="connsiteX11" fmla="*/ 810491 w 1422699"/>
              <a:gd name="connsiteY11" fmla="*/ 1001897 h 1024146"/>
              <a:gd name="connsiteX12" fmla="*/ 586912 w 1422699"/>
              <a:gd name="connsiteY12" fmla="*/ 1024146 h 1024146"/>
              <a:gd name="connsiteX13" fmla="*/ 392889 w 1422699"/>
              <a:gd name="connsiteY13" fmla="*/ 1023078 h 1024146"/>
              <a:gd name="connsiteX14" fmla="*/ 238097 w 1422699"/>
              <a:gd name="connsiteY14" fmla="*/ 1011754 h 1024146"/>
              <a:gd name="connsiteX15" fmla="*/ 101191 w 1422699"/>
              <a:gd name="connsiteY15" fmla="*/ 989583 h 1024146"/>
              <a:gd name="connsiteX16" fmla="*/ 0 w 1422699"/>
              <a:gd name="connsiteY16" fmla="*/ 964178 h 1024146"/>
              <a:gd name="connsiteX17" fmla="*/ 53527 w 1422699"/>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80144 w 1282245"/>
              <a:gd name="connsiteY8" fmla="*/ 843592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1197482 w 1282245"/>
              <a:gd name="connsiteY11" fmla="*/ 544628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3078"/>
              <a:gd name="connsiteX1" fmla="*/ 77639 w 1282245"/>
              <a:gd name="connsiteY1" fmla="*/ 38332 h 1023078"/>
              <a:gd name="connsiteX2" fmla="*/ 89463 w 1282245"/>
              <a:gd name="connsiteY2" fmla="*/ 23783 h 1023078"/>
              <a:gd name="connsiteX3" fmla="*/ 135742 w 1282245"/>
              <a:gd name="connsiteY3" fmla="*/ 0 h 1023078"/>
              <a:gd name="connsiteX4" fmla="*/ 1282245 w 1282245"/>
              <a:gd name="connsiteY4" fmla="*/ 130709 h 1023078"/>
              <a:gd name="connsiteX5" fmla="*/ 1280935 w 1282245"/>
              <a:gd name="connsiteY5" fmla="*/ 201794 h 1023078"/>
              <a:gd name="connsiteX6" fmla="*/ 1278431 w 1282245"/>
              <a:gd name="connsiteY6" fmla="*/ 251883 h 1023078"/>
              <a:gd name="connsiteX7" fmla="*/ 1258410 w 1282245"/>
              <a:gd name="connsiteY7" fmla="*/ 314660 h 1023078"/>
              <a:gd name="connsiteX8" fmla="*/ 1254587 w 1282245"/>
              <a:gd name="connsiteY8" fmla="*/ 380780 h 1023078"/>
              <a:gd name="connsiteX9" fmla="*/ 1237332 w 1282245"/>
              <a:gd name="connsiteY9" fmla="*/ 431449 h 1023078"/>
              <a:gd name="connsiteX10" fmla="*/ 1227585 w 1282245"/>
              <a:gd name="connsiteY10" fmla="*/ 477305 h 1023078"/>
              <a:gd name="connsiteX11" fmla="*/ 1197482 w 1282245"/>
              <a:gd name="connsiteY11" fmla="*/ 544628 h 1023078"/>
              <a:gd name="connsiteX12" fmla="*/ 1149145 w 1282245"/>
              <a:gd name="connsiteY12" fmla="*/ 608447 h 1023078"/>
              <a:gd name="connsiteX13" fmla="*/ 392889 w 1282245"/>
              <a:gd name="connsiteY13" fmla="*/ 1023078 h 1023078"/>
              <a:gd name="connsiteX14" fmla="*/ 238097 w 1282245"/>
              <a:gd name="connsiteY14" fmla="*/ 1011754 h 1023078"/>
              <a:gd name="connsiteX15" fmla="*/ 101191 w 1282245"/>
              <a:gd name="connsiteY15" fmla="*/ 989583 h 1023078"/>
              <a:gd name="connsiteX16" fmla="*/ 0 w 1282245"/>
              <a:gd name="connsiteY16" fmla="*/ 964178 h 1023078"/>
              <a:gd name="connsiteX17" fmla="*/ 53527 w 1282245"/>
              <a:gd name="connsiteY17" fmla="*/ 48660 h 1023078"/>
              <a:gd name="connsiteX0" fmla="*/ 53527 w 1282245"/>
              <a:gd name="connsiteY0" fmla="*/ 48660 h 1011754"/>
              <a:gd name="connsiteX1" fmla="*/ 77639 w 1282245"/>
              <a:gd name="connsiteY1" fmla="*/ 38332 h 1011754"/>
              <a:gd name="connsiteX2" fmla="*/ 89463 w 1282245"/>
              <a:gd name="connsiteY2" fmla="*/ 23783 h 1011754"/>
              <a:gd name="connsiteX3" fmla="*/ 135742 w 1282245"/>
              <a:gd name="connsiteY3" fmla="*/ 0 h 1011754"/>
              <a:gd name="connsiteX4" fmla="*/ 1282245 w 1282245"/>
              <a:gd name="connsiteY4" fmla="*/ 130709 h 1011754"/>
              <a:gd name="connsiteX5" fmla="*/ 1280935 w 1282245"/>
              <a:gd name="connsiteY5" fmla="*/ 201794 h 1011754"/>
              <a:gd name="connsiteX6" fmla="*/ 1278431 w 1282245"/>
              <a:gd name="connsiteY6" fmla="*/ 251883 h 1011754"/>
              <a:gd name="connsiteX7" fmla="*/ 1258410 w 1282245"/>
              <a:gd name="connsiteY7" fmla="*/ 314660 h 1011754"/>
              <a:gd name="connsiteX8" fmla="*/ 1254587 w 1282245"/>
              <a:gd name="connsiteY8" fmla="*/ 380780 h 1011754"/>
              <a:gd name="connsiteX9" fmla="*/ 1237332 w 1282245"/>
              <a:gd name="connsiteY9" fmla="*/ 431449 h 1011754"/>
              <a:gd name="connsiteX10" fmla="*/ 1227585 w 1282245"/>
              <a:gd name="connsiteY10" fmla="*/ 477305 h 1011754"/>
              <a:gd name="connsiteX11" fmla="*/ 1197482 w 1282245"/>
              <a:gd name="connsiteY11" fmla="*/ 544628 h 1011754"/>
              <a:gd name="connsiteX12" fmla="*/ 1149145 w 1282245"/>
              <a:gd name="connsiteY12" fmla="*/ 608447 h 1011754"/>
              <a:gd name="connsiteX13" fmla="*/ 1130363 w 1282245"/>
              <a:gd name="connsiteY13" fmla="*/ 651720 h 1011754"/>
              <a:gd name="connsiteX14" fmla="*/ 238097 w 1282245"/>
              <a:gd name="connsiteY14" fmla="*/ 1011754 h 1011754"/>
              <a:gd name="connsiteX15" fmla="*/ 101191 w 1282245"/>
              <a:gd name="connsiteY15" fmla="*/ 989583 h 1011754"/>
              <a:gd name="connsiteX16" fmla="*/ 0 w 1282245"/>
              <a:gd name="connsiteY16" fmla="*/ 964178 h 1011754"/>
              <a:gd name="connsiteX17" fmla="*/ 53527 w 1282245"/>
              <a:gd name="connsiteY17" fmla="*/ 48660 h 1011754"/>
              <a:gd name="connsiteX0" fmla="*/ 53527 w 1282245"/>
              <a:gd name="connsiteY0" fmla="*/ 48660 h 989583"/>
              <a:gd name="connsiteX1" fmla="*/ 77639 w 1282245"/>
              <a:gd name="connsiteY1" fmla="*/ 38332 h 989583"/>
              <a:gd name="connsiteX2" fmla="*/ 89463 w 1282245"/>
              <a:gd name="connsiteY2" fmla="*/ 23783 h 989583"/>
              <a:gd name="connsiteX3" fmla="*/ 135742 w 1282245"/>
              <a:gd name="connsiteY3" fmla="*/ 0 h 989583"/>
              <a:gd name="connsiteX4" fmla="*/ 1282245 w 1282245"/>
              <a:gd name="connsiteY4" fmla="*/ 130709 h 989583"/>
              <a:gd name="connsiteX5" fmla="*/ 1280935 w 1282245"/>
              <a:gd name="connsiteY5" fmla="*/ 201794 h 989583"/>
              <a:gd name="connsiteX6" fmla="*/ 1278431 w 1282245"/>
              <a:gd name="connsiteY6" fmla="*/ 251883 h 989583"/>
              <a:gd name="connsiteX7" fmla="*/ 1258410 w 1282245"/>
              <a:gd name="connsiteY7" fmla="*/ 314660 h 989583"/>
              <a:gd name="connsiteX8" fmla="*/ 1254587 w 1282245"/>
              <a:gd name="connsiteY8" fmla="*/ 380780 h 989583"/>
              <a:gd name="connsiteX9" fmla="*/ 1237332 w 1282245"/>
              <a:gd name="connsiteY9" fmla="*/ 431449 h 989583"/>
              <a:gd name="connsiteX10" fmla="*/ 1227585 w 1282245"/>
              <a:gd name="connsiteY10" fmla="*/ 477305 h 989583"/>
              <a:gd name="connsiteX11" fmla="*/ 1197482 w 1282245"/>
              <a:gd name="connsiteY11" fmla="*/ 544628 h 989583"/>
              <a:gd name="connsiteX12" fmla="*/ 1149145 w 1282245"/>
              <a:gd name="connsiteY12" fmla="*/ 608447 h 989583"/>
              <a:gd name="connsiteX13" fmla="*/ 1130363 w 1282245"/>
              <a:gd name="connsiteY13" fmla="*/ 651720 h 989583"/>
              <a:gd name="connsiteX14" fmla="*/ 101191 w 1282245"/>
              <a:gd name="connsiteY14" fmla="*/ 989583 h 989583"/>
              <a:gd name="connsiteX15" fmla="*/ 0 w 1282245"/>
              <a:gd name="connsiteY15" fmla="*/ 964178 h 989583"/>
              <a:gd name="connsiteX16" fmla="*/ 53527 w 1282245"/>
              <a:gd name="connsiteY16" fmla="*/ 48660 h 989583"/>
              <a:gd name="connsiteX0" fmla="*/ 53527 w 1282245"/>
              <a:gd name="connsiteY0" fmla="*/ 48660 h 964178"/>
              <a:gd name="connsiteX1" fmla="*/ 77639 w 1282245"/>
              <a:gd name="connsiteY1" fmla="*/ 38332 h 964178"/>
              <a:gd name="connsiteX2" fmla="*/ 89463 w 1282245"/>
              <a:gd name="connsiteY2" fmla="*/ 23783 h 964178"/>
              <a:gd name="connsiteX3" fmla="*/ 135742 w 1282245"/>
              <a:gd name="connsiteY3" fmla="*/ 0 h 964178"/>
              <a:gd name="connsiteX4" fmla="*/ 1282245 w 1282245"/>
              <a:gd name="connsiteY4" fmla="*/ 130709 h 964178"/>
              <a:gd name="connsiteX5" fmla="*/ 1280935 w 1282245"/>
              <a:gd name="connsiteY5" fmla="*/ 201794 h 964178"/>
              <a:gd name="connsiteX6" fmla="*/ 1278431 w 1282245"/>
              <a:gd name="connsiteY6" fmla="*/ 251883 h 964178"/>
              <a:gd name="connsiteX7" fmla="*/ 1258410 w 1282245"/>
              <a:gd name="connsiteY7" fmla="*/ 314660 h 964178"/>
              <a:gd name="connsiteX8" fmla="*/ 1254587 w 1282245"/>
              <a:gd name="connsiteY8" fmla="*/ 380780 h 964178"/>
              <a:gd name="connsiteX9" fmla="*/ 1237332 w 1282245"/>
              <a:gd name="connsiteY9" fmla="*/ 431449 h 964178"/>
              <a:gd name="connsiteX10" fmla="*/ 1227585 w 1282245"/>
              <a:gd name="connsiteY10" fmla="*/ 477305 h 964178"/>
              <a:gd name="connsiteX11" fmla="*/ 1197482 w 1282245"/>
              <a:gd name="connsiteY11" fmla="*/ 544628 h 964178"/>
              <a:gd name="connsiteX12" fmla="*/ 1149145 w 1282245"/>
              <a:gd name="connsiteY12" fmla="*/ 608447 h 964178"/>
              <a:gd name="connsiteX13" fmla="*/ 1130363 w 1282245"/>
              <a:gd name="connsiteY13" fmla="*/ 651720 h 964178"/>
              <a:gd name="connsiteX14" fmla="*/ 0 w 1282245"/>
              <a:gd name="connsiteY14" fmla="*/ 964178 h 964178"/>
              <a:gd name="connsiteX15" fmla="*/ 53527 w 1282245"/>
              <a:gd name="connsiteY15" fmla="*/ 48660 h 964178"/>
              <a:gd name="connsiteX0" fmla="*/ 0 w 1228718"/>
              <a:gd name="connsiteY0" fmla="*/ 48660 h 742472"/>
              <a:gd name="connsiteX1" fmla="*/ 24112 w 1228718"/>
              <a:gd name="connsiteY1" fmla="*/ 38332 h 742472"/>
              <a:gd name="connsiteX2" fmla="*/ 35936 w 1228718"/>
              <a:gd name="connsiteY2" fmla="*/ 23783 h 742472"/>
              <a:gd name="connsiteX3" fmla="*/ 82215 w 1228718"/>
              <a:gd name="connsiteY3" fmla="*/ 0 h 742472"/>
              <a:gd name="connsiteX4" fmla="*/ 1228718 w 1228718"/>
              <a:gd name="connsiteY4" fmla="*/ 130709 h 742472"/>
              <a:gd name="connsiteX5" fmla="*/ 1227408 w 1228718"/>
              <a:gd name="connsiteY5" fmla="*/ 201794 h 742472"/>
              <a:gd name="connsiteX6" fmla="*/ 1224904 w 1228718"/>
              <a:gd name="connsiteY6" fmla="*/ 251883 h 742472"/>
              <a:gd name="connsiteX7" fmla="*/ 1204883 w 1228718"/>
              <a:gd name="connsiteY7" fmla="*/ 314660 h 742472"/>
              <a:gd name="connsiteX8" fmla="*/ 1201060 w 1228718"/>
              <a:gd name="connsiteY8" fmla="*/ 380780 h 742472"/>
              <a:gd name="connsiteX9" fmla="*/ 1183805 w 1228718"/>
              <a:gd name="connsiteY9" fmla="*/ 431449 h 742472"/>
              <a:gd name="connsiteX10" fmla="*/ 1174058 w 1228718"/>
              <a:gd name="connsiteY10" fmla="*/ 477305 h 742472"/>
              <a:gd name="connsiteX11" fmla="*/ 1143955 w 1228718"/>
              <a:gd name="connsiteY11" fmla="*/ 544628 h 742472"/>
              <a:gd name="connsiteX12" fmla="*/ 1095618 w 1228718"/>
              <a:gd name="connsiteY12" fmla="*/ 608447 h 742472"/>
              <a:gd name="connsiteX13" fmla="*/ 1076836 w 1228718"/>
              <a:gd name="connsiteY13" fmla="*/ 651720 h 742472"/>
              <a:gd name="connsiteX14" fmla="*/ 979667 w 1228718"/>
              <a:gd name="connsiteY14" fmla="*/ 742472 h 742472"/>
              <a:gd name="connsiteX15" fmla="*/ 0 w 1228718"/>
              <a:gd name="connsiteY15" fmla="*/ 48660 h 742472"/>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76836 w 1228718"/>
              <a:gd name="connsiteY13" fmla="*/ 651720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29826 w 1228718"/>
              <a:gd name="connsiteY13" fmla="*/ 696018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6526 w 1228718"/>
              <a:gd name="connsiteY6" fmla="*/ 243269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9466"/>
              <a:gd name="connsiteY0" fmla="*/ 48660 h 746164"/>
              <a:gd name="connsiteX1" fmla="*/ 24112 w 1229466"/>
              <a:gd name="connsiteY1" fmla="*/ 38332 h 746164"/>
              <a:gd name="connsiteX2" fmla="*/ 35936 w 1229466"/>
              <a:gd name="connsiteY2" fmla="*/ 23783 h 746164"/>
              <a:gd name="connsiteX3" fmla="*/ 82215 w 1229466"/>
              <a:gd name="connsiteY3" fmla="*/ 0 h 746164"/>
              <a:gd name="connsiteX4" fmla="*/ 1228718 w 1229466"/>
              <a:gd name="connsiteY4" fmla="*/ 130709 h 746164"/>
              <a:gd name="connsiteX5" fmla="*/ 1229029 w 1229466"/>
              <a:gd name="connsiteY5" fmla="*/ 180875 h 746164"/>
              <a:gd name="connsiteX6" fmla="*/ 1226526 w 1229466"/>
              <a:gd name="connsiteY6" fmla="*/ 243269 h 746164"/>
              <a:gd name="connsiteX7" fmla="*/ 1216230 w 1229466"/>
              <a:gd name="connsiteY7" fmla="*/ 307277 h 746164"/>
              <a:gd name="connsiteX8" fmla="*/ 1201060 w 1229466"/>
              <a:gd name="connsiteY8" fmla="*/ 373397 h 746164"/>
              <a:gd name="connsiteX9" fmla="*/ 1183805 w 1229466"/>
              <a:gd name="connsiteY9" fmla="*/ 431449 h 746164"/>
              <a:gd name="connsiteX10" fmla="*/ 1157848 w 1229466"/>
              <a:gd name="connsiteY10" fmla="*/ 485919 h 746164"/>
              <a:gd name="connsiteX11" fmla="*/ 1132608 w 1229466"/>
              <a:gd name="connsiteY11" fmla="*/ 545858 h 746164"/>
              <a:gd name="connsiteX12" fmla="*/ 1084271 w 1229466"/>
              <a:gd name="connsiteY12" fmla="*/ 629366 h 746164"/>
              <a:gd name="connsiteX13" fmla="*/ 1041173 w 1229466"/>
              <a:gd name="connsiteY13" fmla="*/ 681252 h 746164"/>
              <a:gd name="connsiteX14" fmla="*/ 989393 w 1229466"/>
              <a:gd name="connsiteY14" fmla="*/ 746164 h 746164"/>
              <a:gd name="connsiteX15" fmla="*/ 0 w 1229466"/>
              <a:gd name="connsiteY15" fmla="*/ 48660 h 746164"/>
              <a:gd name="connsiteX0" fmla="*/ 0 w 1229466"/>
              <a:gd name="connsiteY0" fmla="*/ 37585 h 735089"/>
              <a:gd name="connsiteX1" fmla="*/ 24112 w 1229466"/>
              <a:gd name="connsiteY1" fmla="*/ 27257 h 735089"/>
              <a:gd name="connsiteX2" fmla="*/ 35936 w 1229466"/>
              <a:gd name="connsiteY2" fmla="*/ 12708 h 735089"/>
              <a:gd name="connsiteX3" fmla="*/ 56278 w 1229466"/>
              <a:gd name="connsiteY3" fmla="*/ 0 h 735089"/>
              <a:gd name="connsiteX4" fmla="*/ 1228718 w 1229466"/>
              <a:gd name="connsiteY4" fmla="*/ 119634 h 735089"/>
              <a:gd name="connsiteX5" fmla="*/ 1229029 w 1229466"/>
              <a:gd name="connsiteY5" fmla="*/ 169800 h 735089"/>
              <a:gd name="connsiteX6" fmla="*/ 1226526 w 1229466"/>
              <a:gd name="connsiteY6" fmla="*/ 232194 h 735089"/>
              <a:gd name="connsiteX7" fmla="*/ 1216230 w 1229466"/>
              <a:gd name="connsiteY7" fmla="*/ 296202 h 735089"/>
              <a:gd name="connsiteX8" fmla="*/ 1201060 w 1229466"/>
              <a:gd name="connsiteY8" fmla="*/ 362322 h 735089"/>
              <a:gd name="connsiteX9" fmla="*/ 1183805 w 1229466"/>
              <a:gd name="connsiteY9" fmla="*/ 420374 h 735089"/>
              <a:gd name="connsiteX10" fmla="*/ 1157848 w 1229466"/>
              <a:gd name="connsiteY10" fmla="*/ 474844 h 735089"/>
              <a:gd name="connsiteX11" fmla="*/ 1132608 w 1229466"/>
              <a:gd name="connsiteY11" fmla="*/ 534783 h 735089"/>
              <a:gd name="connsiteX12" fmla="*/ 1084271 w 1229466"/>
              <a:gd name="connsiteY12" fmla="*/ 618291 h 735089"/>
              <a:gd name="connsiteX13" fmla="*/ 1041173 w 1229466"/>
              <a:gd name="connsiteY13" fmla="*/ 670177 h 735089"/>
              <a:gd name="connsiteX14" fmla="*/ 989393 w 1229466"/>
              <a:gd name="connsiteY14" fmla="*/ 735089 h 735089"/>
              <a:gd name="connsiteX15" fmla="*/ 0 w 1229466"/>
              <a:gd name="connsiteY15" fmla="*/ 37585 h 735089"/>
              <a:gd name="connsiteX0" fmla="*/ 0 w 1235950"/>
              <a:gd name="connsiteY0" fmla="*/ 35124 h 735089"/>
              <a:gd name="connsiteX1" fmla="*/ 30596 w 1235950"/>
              <a:gd name="connsiteY1" fmla="*/ 27257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49794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346744"/>
              <a:gd name="connsiteY0" fmla="*/ 280791 h 735089"/>
              <a:gd name="connsiteX1" fmla="*/ 128422 w 1346744"/>
              <a:gd name="connsiteY1" fmla="*/ 22335 h 735089"/>
              <a:gd name="connsiteX2" fmla="*/ 149972 w 1346744"/>
              <a:gd name="connsiteY2" fmla="*/ 7786 h 735089"/>
              <a:gd name="connsiteX3" fmla="*/ 160588 w 1346744"/>
              <a:gd name="connsiteY3" fmla="*/ 0 h 735089"/>
              <a:gd name="connsiteX4" fmla="*/ 1345996 w 1346744"/>
              <a:gd name="connsiteY4" fmla="*/ 119634 h 735089"/>
              <a:gd name="connsiteX5" fmla="*/ 1346307 w 1346744"/>
              <a:gd name="connsiteY5" fmla="*/ 169800 h 735089"/>
              <a:gd name="connsiteX6" fmla="*/ 1343804 w 1346744"/>
              <a:gd name="connsiteY6" fmla="*/ 232194 h 735089"/>
              <a:gd name="connsiteX7" fmla="*/ 1333508 w 1346744"/>
              <a:gd name="connsiteY7" fmla="*/ 296202 h 735089"/>
              <a:gd name="connsiteX8" fmla="*/ 1318338 w 1346744"/>
              <a:gd name="connsiteY8" fmla="*/ 362322 h 735089"/>
              <a:gd name="connsiteX9" fmla="*/ 1301083 w 1346744"/>
              <a:gd name="connsiteY9" fmla="*/ 420374 h 735089"/>
              <a:gd name="connsiteX10" fmla="*/ 1275126 w 1346744"/>
              <a:gd name="connsiteY10" fmla="*/ 474844 h 735089"/>
              <a:gd name="connsiteX11" fmla="*/ 1249886 w 1346744"/>
              <a:gd name="connsiteY11" fmla="*/ 534783 h 735089"/>
              <a:gd name="connsiteX12" fmla="*/ 1201549 w 1346744"/>
              <a:gd name="connsiteY12" fmla="*/ 618291 h 735089"/>
              <a:gd name="connsiteX13" fmla="*/ 1158451 w 1346744"/>
              <a:gd name="connsiteY13" fmla="*/ 670177 h 735089"/>
              <a:gd name="connsiteX14" fmla="*/ 1106671 w 1346744"/>
              <a:gd name="connsiteY14" fmla="*/ 735089 h 735089"/>
              <a:gd name="connsiteX15" fmla="*/ 0 w 1346744"/>
              <a:gd name="connsiteY15" fmla="*/ 280791 h 735089"/>
              <a:gd name="connsiteX0" fmla="*/ 0 w 1346744"/>
              <a:gd name="connsiteY0" fmla="*/ 311776 h 766074"/>
              <a:gd name="connsiteX1" fmla="*/ 128422 w 1346744"/>
              <a:gd name="connsiteY1" fmla="*/ 53320 h 766074"/>
              <a:gd name="connsiteX2" fmla="*/ 149972 w 1346744"/>
              <a:gd name="connsiteY2" fmla="*/ 38771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11776 h 766074"/>
              <a:gd name="connsiteX1" fmla="*/ 70110 w 1346744"/>
              <a:gd name="connsiteY1" fmla="*/ 245870 h 766074"/>
              <a:gd name="connsiteX2" fmla="*/ 149972 w 1346744"/>
              <a:gd name="connsiteY2" fmla="*/ 38771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11776 h 766074"/>
              <a:gd name="connsiteX1" fmla="*/ 70110 w 1346744"/>
              <a:gd name="connsiteY1" fmla="*/ 245870 h 766074"/>
              <a:gd name="connsiteX2" fmla="*/ 109153 w 1346744"/>
              <a:gd name="connsiteY2" fmla="*/ 116233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29361 h 783659"/>
              <a:gd name="connsiteX1" fmla="*/ 70110 w 1346744"/>
              <a:gd name="connsiteY1" fmla="*/ 263455 h 783659"/>
              <a:gd name="connsiteX2" fmla="*/ 109153 w 1346744"/>
              <a:gd name="connsiteY2" fmla="*/ 133818 h 783659"/>
              <a:gd name="connsiteX3" fmla="*/ 55626 w 1346744"/>
              <a:gd name="connsiteY3" fmla="*/ 17585 h 783659"/>
              <a:gd name="connsiteX4" fmla="*/ 1048603 w 1346744"/>
              <a:gd name="connsiteY4" fmla="*/ 0 h 783659"/>
              <a:gd name="connsiteX5" fmla="*/ 1346307 w 1346744"/>
              <a:gd name="connsiteY5" fmla="*/ 218370 h 783659"/>
              <a:gd name="connsiteX6" fmla="*/ 1343804 w 1346744"/>
              <a:gd name="connsiteY6" fmla="*/ 280764 h 783659"/>
              <a:gd name="connsiteX7" fmla="*/ 1333508 w 1346744"/>
              <a:gd name="connsiteY7" fmla="*/ 344772 h 783659"/>
              <a:gd name="connsiteX8" fmla="*/ 1318338 w 1346744"/>
              <a:gd name="connsiteY8" fmla="*/ 410892 h 783659"/>
              <a:gd name="connsiteX9" fmla="*/ 1301083 w 1346744"/>
              <a:gd name="connsiteY9" fmla="*/ 468944 h 783659"/>
              <a:gd name="connsiteX10" fmla="*/ 1275126 w 1346744"/>
              <a:gd name="connsiteY10" fmla="*/ 523414 h 783659"/>
              <a:gd name="connsiteX11" fmla="*/ 1249886 w 1346744"/>
              <a:gd name="connsiteY11" fmla="*/ 583353 h 783659"/>
              <a:gd name="connsiteX12" fmla="*/ 1201549 w 1346744"/>
              <a:gd name="connsiteY12" fmla="*/ 666861 h 783659"/>
              <a:gd name="connsiteX13" fmla="*/ 1158451 w 1346744"/>
              <a:gd name="connsiteY13" fmla="*/ 718747 h 783659"/>
              <a:gd name="connsiteX14" fmla="*/ 1106671 w 1346744"/>
              <a:gd name="connsiteY14" fmla="*/ 783659 h 783659"/>
              <a:gd name="connsiteX15" fmla="*/ 0 w 1346744"/>
              <a:gd name="connsiteY15" fmla="*/ 329361 h 783659"/>
              <a:gd name="connsiteX0" fmla="*/ 0 w 1346744"/>
              <a:gd name="connsiteY0" fmla="*/ 323249 h 777547"/>
              <a:gd name="connsiteX1" fmla="*/ 70110 w 1346744"/>
              <a:gd name="connsiteY1" fmla="*/ 257343 h 777547"/>
              <a:gd name="connsiteX2" fmla="*/ 109153 w 1346744"/>
              <a:gd name="connsiteY2" fmla="*/ 127706 h 777547"/>
              <a:gd name="connsiteX3" fmla="*/ 55626 w 1346744"/>
              <a:gd name="connsiteY3" fmla="*/ 11473 h 777547"/>
              <a:gd name="connsiteX4" fmla="*/ 1044002 w 1346744"/>
              <a:gd name="connsiteY4" fmla="*/ 0 h 777547"/>
              <a:gd name="connsiteX5" fmla="*/ 1346307 w 1346744"/>
              <a:gd name="connsiteY5" fmla="*/ 212258 h 777547"/>
              <a:gd name="connsiteX6" fmla="*/ 1343804 w 1346744"/>
              <a:gd name="connsiteY6" fmla="*/ 274652 h 777547"/>
              <a:gd name="connsiteX7" fmla="*/ 1333508 w 1346744"/>
              <a:gd name="connsiteY7" fmla="*/ 338660 h 777547"/>
              <a:gd name="connsiteX8" fmla="*/ 1318338 w 1346744"/>
              <a:gd name="connsiteY8" fmla="*/ 404780 h 777547"/>
              <a:gd name="connsiteX9" fmla="*/ 1301083 w 1346744"/>
              <a:gd name="connsiteY9" fmla="*/ 462832 h 777547"/>
              <a:gd name="connsiteX10" fmla="*/ 1275126 w 1346744"/>
              <a:gd name="connsiteY10" fmla="*/ 517302 h 777547"/>
              <a:gd name="connsiteX11" fmla="*/ 1249886 w 1346744"/>
              <a:gd name="connsiteY11" fmla="*/ 577241 h 777547"/>
              <a:gd name="connsiteX12" fmla="*/ 1201549 w 1346744"/>
              <a:gd name="connsiteY12" fmla="*/ 660749 h 777547"/>
              <a:gd name="connsiteX13" fmla="*/ 1158451 w 1346744"/>
              <a:gd name="connsiteY13" fmla="*/ 712635 h 777547"/>
              <a:gd name="connsiteX14" fmla="*/ 1106671 w 1346744"/>
              <a:gd name="connsiteY14" fmla="*/ 777547 h 777547"/>
              <a:gd name="connsiteX15" fmla="*/ 0 w 1346744"/>
              <a:gd name="connsiteY15" fmla="*/ 323249 h 777547"/>
              <a:gd name="connsiteX0" fmla="*/ 0 w 1346744"/>
              <a:gd name="connsiteY0" fmla="*/ 324122 h 778420"/>
              <a:gd name="connsiteX1" fmla="*/ 70110 w 1346744"/>
              <a:gd name="connsiteY1" fmla="*/ 258216 h 778420"/>
              <a:gd name="connsiteX2" fmla="*/ 109153 w 1346744"/>
              <a:gd name="connsiteY2" fmla="*/ 128579 h 778420"/>
              <a:gd name="connsiteX3" fmla="*/ 55626 w 1346744"/>
              <a:gd name="connsiteY3" fmla="*/ 12346 h 778420"/>
              <a:gd name="connsiteX4" fmla="*/ 1048603 w 1346744"/>
              <a:gd name="connsiteY4" fmla="*/ 0 h 778420"/>
              <a:gd name="connsiteX5" fmla="*/ 1346307 w 1346744"/>
              <a:gd name="connsiteY5" fmla="*/ 213131 h 778420"/>
              <a:gd name="connsiteX6" fmla="*/ 1343804 w 1346744"/>
              <a:gd name="connsiteY6" fmla="*/ 275525 h 778420"/>
              <a:gd name="connsiteX7" fmla="*/ 1333508 w 1346744"/>
              <a:gd name="connsiteY7" fmla="*/ 339533 h 778420"/>
              <a:gd name="connsiteX8" fmla="*/ 1318338 w 1346744"/>
              <a:gd name="connsiteY8" fmla="*/ 405653 h 778420"/>
              <a:gd name="connsiteX9" fmla="*/ 1301083 w 1346744"/>
              <a:gd name="connsiteY9" fmla="*/ 463705 h 778420"/>
              <a:gd name="connsiteX10" fmla="*/ 1275126 w 1346744"/>
              <a:gd name="connsiteY10" fmla="*/ 518175 h 778420"/>
              <a:gd name="connsiteX11" fmla="*/ 1249886 w 1346744"/>
              <a:gd name="connsiteY11" fmla="*/ 578114 h 778420"/>
              <a:gd name="connsiteX12" fmla="*/ 1201549 w 1346744"/>
              <a:gd name="connsiteY12" fmla="*/ 661622 h 778420"/>
              <a:gd name="connsiteX13" fmla="*/ 1158451 w 1346744"/>
              <a:gd name="connsiteY13" fmla="*/ 713508 h 778420"/>
              <a:gd name="connsiteX14" fmla="*/ 1106671 w 1346744"/>
              <a:gd name="connsiteY14" fmla="*/ 778420 h 778420"/>
              <a:gd name="connsiteX15" fmla="*/ 0 w 134674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65641 w 1343804"/>
              <a:gd name="connsiteY5" fmla="*/ 41992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65641 w 1343804"/>
              <a:gd name="connsiteY5" fmla="*/ 41992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71393 w 1343804"/>
              <a:gd name="connsiteY5" fmla="*/ 42865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71393 w 1343804"/>
              <a:gd name="connsiteY5" fmla="*/ 42865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33508"/>
              <a:gd name="connsiteY0" fmla="*/ 324122 h 778420"/>
              <a:gd name="connsiteX1" fmla="*/ 70110 w 1333508"/>
              <a:gd name="connsiteY1" fmla="*/ 258216 h 778420"/>
              <a:gd name="connsiteX2" fmla="*/ 109153 w 1333508"/>
              <a:gd name="connsiteY2" fmla="*/ 128579 h 778420"/>
              <a:gd name="connsiteX3" fmla="*/ 55626 w 1333508"/>
              <a:gd name="connsiteY3" fmla="*/ 12346 h 778420"/>
              <a:gd name="connsiteX4" fmla="*/ 1048603 w 1333508"/>
              <a:gd name="connsiteY4" fmla="*/ 0 h 778420"/>
              <a:gd name="connsiteX5" fmla="*/ 1071393 w 1333508"/>
              <a:gd name="connsiteY5" fmla="*/ 42865 h 778420"/>
              <a:gd name="connsiteX6" fmla="*/ 1096495 w 1333508"/>
              <a:gd name="connsiteY6" fmla="*/ 98274 h 778420"/>
              <a:gd name="connsiteX7" fmla="*/ 1333508 w 1333508"/>
              <a:gd name="connsiteY7" fmla="*/ 339533 h 778420"/>
              <a:gd name="connsiteX8" fmla="*/ 1318338 w 1333508"/>
              <a:gd name="connsiteY8" fmla="*/ 405653 h 778420"/>
              <a:gd name="connsiteX9" fmla="*/ 1301083 w 1333508"/>
              <a:gd name="connsiteY9" fmla="*/ 463705 h 778420"/>
              <a:gd name="connsiteX10" fmla="*/ 1275126 w 1333508"/>
              <a:gd name="connsiteY10" fmla="*/ 518175 h 778420"/>
              <a:gd name="connsiteX11" fmla="*/ 1249886 w 1333508"/>
              <a:gd name="connsiteY11" fmla="*/ 578114 h 778420"/>
              <a:gd name="connsiteX12" fmla="*/ 1201549 w 1333508"/>
              <a:gd name="connsiteY12" fmla="*/ 661622 h 778420"/>
              <a:gd name="connsiteX13" fmla="*/ 1158451 w 1333508"/>
              <a:gd name="connsiteY13" fmla="*/ 713508 h 778420"/>
              <a:gd name="connsiteX14" fmla="*/ 1106671 w 1333508"/>
              <a:gd name="connsiteY14" fmla="*/ 778420 h 778420"/>
              <a:gd name="connsiteX15" fmla="*/ 0 w 1333508"/>
              <a:gd name="connsiteY15" fmla="*/ 324122 h 778420"/>
              <a:gd name="connsiteX0" fmla="*/ 0 w 1318338"/>
              <a:gd name="connsiteY0" fmla="*/ 324122 h 778420"/>
              <a:gd name="connsiteX1" fmla="*/ 70110 w 1318338"/>
              <a:gd name="connsiteY1" fmla="*/ 258216 h 778420"/>
              <a:gd name="connsiteX2" fmla="*/ 109153 w 1318338"/>
              <a:gd name="connsiteY2" fmla="*/ 128579 h 778420"/>
              <a:gd name="connsiteX3" fmla="*/ 55626 w 1318338"/>
              <a:gd name="connsiteY3" fmla="*/ 12346 h 778420"/>
              <a:gd name="connsiteX4" fmla="*/ 1048603 w 1318338"/>
              <a:gd name="connsiteY4" fmla="*/ 0 h 778420"/>
              <a:gd name="connsiteX5" fmla="*/ 1071393 w 1318338"/>
              <a:gd name="connsiteY5" fmla="*/ 42865 h 778420"/>
              <a:gd name="connsiteX6" fmla="*/ 1096495 w 1318338"/>
              <a:gd name="connsiteY6" fmla="*/ 98274 h 778420"/>
              <a:gd name="connsiteX7" fmla="*/ 1118407 w 1318338"/>
              <a:gd name="connsiteY7" fmla="*/ 148311 h 778420"/>
              <a:gd name="connsiteX8" fmla="*/ 1318338 w 1318338"/>
              <a:gd name="connsiteY8" fmla="*/ 405653 h 778420"/>
              <a:gd name="connsiteX9" fmla="*/ 1301083 w 1318338"/>
              <a:gd name="connsiteY9" fmla="*/ 463705 h 778420"/>
              <a:gd name="connsiteX10" fmla="*/ 1275126 w 1318338"/>
              <a:gd name="connsiteY10" fmla="*/ 518175 h 778420"/>
              <a:gd name="connsiteX11" fmla="*/ 1249886 w 1318338"/>
              <a:gd name="connsiteY11" fmla="*/ 578114 h 778420"/>
              <a:gd name="connsiteX12" fmla="*/ 1201549 w 1318338"/>
              <a:gd name="connsiteY12" fmla="*/ 661622 h 778420"/>
              <a:gd name="connsiteX13" fmla="*/ 1158451 w 1318338"/>
              <a:gd name="connsiteY13" fmla="*/ 713508 h 778420"/>
              <a:gd name="connsiteX14" fmla="*/ 1106671 w 1318338"/>
              <a:gd name="connsiteY14" fmla="*/ 778420 h 778420"/>
              <a:gd name="connsiteX15" fmla="*/ 0 w 1318338"/>
              <a:gd name="connsiteY15" fmla="*/ 324122 h 778420"/>
              <a:gd name="connsiteX0" fmla="*/ 0 w 1301083"/>
              <a:gd name="connsiteY0" fmla="*/ 324122 h 778420"/>
              <a:gd name="connsiteX1" fmla="*/ 70110 w 1301083"/>
              <a:gd name="connsiteY1" fmla="*/ 258216 h 778420"/>
              <a:gd name="connsiteX2" fmla="*/ 109153 w 1301083"/>
              <a:gd name="connsiteY2" fmla="*/ 128579 h 778420"/>
              <a:gd name="connsiteX3" fmla="*/ 55626 w 1301083"/>
              <a:gd name="connsiteY3" fmla="*/ 12346 h 778420"/>
              <a:gd name="connsiteX4" fmla="*/ 1048603 w 1301083"/>
              <a:gd name="connsiteY4" fmla="*/ 0 h 778420"/>
              <a:gd name="connsiteX5" fmla="*/ 1071393 w 1301083"/>
              <a:gd name="connsiteY5" fmla="*/ 42865 h 778420"/>
              <a:gd name="connsiteX6" fmla="*/ 1096495 w 1301083"/>
              <a:gd name="connsiteY6" fmla="*/ 98274 h 778420"/>
              <a:gd name="connsiteX7" fmla="*/ 1118407 w 1301083"/>
              <a:gd name="connsiteY7" fmla="*/ 148311 h 778420"/>
              <a:gd name="connsiteX8" fmla="*/ 1138896 w 1301083"/>
              <a:gd name="connsiteY8" fmla="*/ 196968 h 778420"/>
              <a:gd name="connsiteX9" fmla="*/ 1301083 w 1301083"/>
              <a:gd name="connsiteY9" fmla="*/ 463705 h 778420"/>
              <a:gd name="connsiteX10" fmla="*/ 1275126 w 1301083"/>
              <a:gd name="connsiteY10" fmla="*/ 518175 h 778420"/>
              <a:gd name="connsiteX11" fmla="*/ 1249886 w 1301083"/>
              <a:gd name="connsiteY11" fmla="*/ 578114 h 778420"/>
              <a:gd name="connsiteX12" fmla="*/ 1201549 w 1301083"/>
              <a:gd name="connsiteY12" fmla="*/ 661622 h 778420"/>
              <a:gd name="connsiteX13" fmla="*/ 1158451 w 1301083"/>
              <a:gd name="connsiteY13" fmla="*/ 713508 h 778420"/>
              <a:gd name="connsiteX14" fmla="*/ 1106671 w 1301083"/>
              <a:gd name="connsiteY14" fmla="*/ 778420 h 778420"/>
              <a:gd name="connsiteX15" fmla="*/ 0 w 1301083"/>
              <a:gd name="connsiteY15" fmla="*/ 324122 h 778420"/>
              <a:gd name="connsiteX0" fmla="*/ 0 w 1275126"/>
              <a:gd name="connsiteY0" fmla="*/ 324122 h 778420"/>
              <a:gd name="connsiteX1" fmla="*/ 70110 w 1275126"/>
              <a:gd name="connsiteY1" fmla="*/ 258216 h 778420"/>
              <a:gd name="connsiteX2" fmla="*/ 109153 w 1275126"/>
              <a:gd name="connsiteY2" fmla="*/ 128579 h 778420"/>
              <a:gd name="connsiteX3" fmla="*/ 55626 w 1275126"/>
              <a:gd name="connsiteY3" fmla="*/ 12346 h 778420"/>
              <a:gd name="connsiteX4" fmla="*/ 1048603 w 1275126"/>
              <a:gd name="connsiteY4" fmla="*/ 0 h 778420"/>
              <a:gd name="connsiteX5" fmla="*/ 1071393 w 1275126"/>
              <a:gd name="connsiteY5" fmla="*/ 42865 h 778420"/>
              <a:gd name="connsiteX6" fmla="*/ 1096495 w 1275126"/>
              <a:gd name="connsiteY6" fmla="*/ 98274 h 778420"/>
              <a:gd name="connsiteX7" fmla="*/ 1118407 w 1275126"/>
              <a:gd name="connsiteY7" fmla="*/ 148311 h 778420"/>
              <a:gd name="connsiteX8" fmla="*/ 1138896 w 1275126"/>
              <a:gd name="connsiteY8" fmla="*/ 196968 h 778420"/>
              <a:gd name="connsiteX9" fmla="*/ 1148097 w 1275126"/>
              <a:gd name="connsiteY9" fmla="*/ 243669 h 778420"/>
              <a:gd name="connsiteX10" fmla="*/ 1275126 w 1275126"/>
              <a:gd name="connsiteY10" fmla="*/ 518175 h 778420"/>
              <a:gd name="connsiteX11" fmla="*/ 1249886 w 1275126"/>
              <a:gd name="connsiteY11" fmla="*/ 578114 h 778420"/>
              <a:gd name="connsiteX12" fmla="*/ 1201549 w 1275126"/>
              <a:gd name="connsiteY12" fmla="*/ 661622 h 778420"/>
              <a:gd name="connsiteX13" fmla="*/ 1158451 w 1275126"/>
              <a:gd name="connsiteY13" fmla="*/ 713508 h 778420"/>
              <a:gd name="connsiteX14" fmla="*/ 1106671 w 1275126"/>
              <a:gd name="connsiteY14" fmla="*/ 778420 h 778420"/>
              <a:gd name="connsiteX15" fmla="*/ 0 w 1275126"/>
              <a:gd name="connsiteY15" fmla="*/ 324122 h 778420"/>
              <a:gd name="connsiteX0" fmla="*/ 0 w 1249886"/>
              <a:gd name="connsiteY0" fmla="*/ 324122 h 778420"/>
              <a:gd name="connsiteX1" fmla="*/ 70110 w 1249886"/>
              <a:gd name="connsiteY1" fmla="*/ 258216 h 778420"/>
              <a:gd name="connsiteX2" fmla="*/ 109153 w 1249886"/>
              <a:gd name="connsiteY2" fmla="*/ 128579 h 778420"/>
              <a:gd name="connsiteX3" fmla="*/ 55626 w 1249886"/>
              <a:gd name="connsiteY3" fmla="*/ 12346 h 778420"/>
              <a:gd name="connsiteX4" fmla="*/ 1048603 w 1249886"/>
              <a:gd name="connsiteY4" fmla="*/ 0 h 778420"/>
              <a:gd name="connsiteX5" fmla="*/ 1071393 w 1249886"/>
              <a:gd name="connsiteY5" fmla="*/ 42865 h 778420"/>
              <a:gd name="connsiteX6" fmla="*/ 1096495 w 1249886"/>
              <a:gd name="connsiteY6" fmla="*/ 98274 h 778420"/>
              <a:gd name="connsiteX7" fmla="*/ 1118407 w 1249886"/>
              <a:gd name="connsiteY7" fmla="*/ 148311 h 778420"/>
              <a:gd name="connsiteX8" fmla="*/ 1138896 w 1249886"/>
              <a:gd name="connsiteY8" fmla="*/ 196968 h 778420"/>
              <a:gd name="connsiteX9" fmla="*/ 1148097 w 1249886"/>
              <a:gd name="connsiteY9" fmla="*/ 243669 h 778420"/>
              <a:gd name="connsiteX10" fmla="*/ 1158949 w 1249886"/>
              <a:gd name="connsiteY10" fmla="*/ 297266 h 778420"/>
              <a:gd name="connsiteX11" fmla="*/ 1249886 w 1249886"/>
              <a:gd name="connsiteY11" fmla="*/ 578114 h 778420"/>
              <a:gd name="connsiteX12" fmla="*/ 1201549 w 1249886"/>
              <a:gd name="connsiteY12" fmla="*/ 661622 h 778420"/>
              <a:gd name="connsiteX13" fmla="*/ 1158451 w 1249886"/>
              <a:gd name="connsiteY13" fmla="*/ 713508 h 778420"/>
              <a:gd name="connsiteX14" fmla="*/ 1106671 w 1249886"/>
              <a:gd name="connsiteY14" fmla="*/ 778420 h 778420"/>
              <a:gd name="connsiteX15" fmla="*/ 0 w 1249886"/>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01549 w 1262539"/>
              <a:gd name="connsiteY12" fmla="*/ 661622 h 778420"/>
              <a:gd name="connsiteX13" fmla="*/ 1158451 w 1262539"/>
              <a:gd name="connsiteY13" fmla="*/ 713508 h 778420"/>
              <a:gd name="connsiteX14" fmla="*/ 1106671 w 1262539"/>
              <a:gd name="connsiteY14" fmla="*/ 778420 h 778420"/>
              <a:gd name="connsiteX15" fmla="*/ 0 w 1262539"/>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56762 w 1262539"/>
              <a:gd name="connsiteY12" fmla="*/ 447698 h 778420"/>
              <a:gd name="connsiteX13" fmla="*/ 1158451 w 1262539"/>
              <a:gd name="connsiteY13" fmla="*/ 713508 h 778420"/>
              <a:gd name="connsiteX14" fmla="*/ 1106671 w 1262539"/>
              <a:gd name="connsiteY14" fmla="*/ 778420 h 778420"/>
              <a:gd name="connsiteX15" fmla="*/ 0 w 1262539"/>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56762 w 1262539"/>
              <a:gd name="connsiteY12" fmla="*/ 447698 h 778420"/>
              <a:gd name="connsiteX13" fmla="*/ 1213664 w 1262539"/>
              <a:gd name="connsiteY13" fmla="*/ 523160 h 778420"/>
              <a:gd name="connsiteX14" fmla="*/ 1106671 w 1262539"/>
              <a:gd name="connsiteY14" fmla="*/ 778420 h 778420"/>
              <a:gd name="connsiteX15" fmla="*/ 0 w 1262539"/>
              <a:gd name="connsiteY15" fmla="*/ 324122 h 778420"/>
              <a:gd name="connsiteX0" fmla="*/ 0 w 1262539"/>
              <a:gd name="connsiteY0" fmla="*/ 324122 h 523160"/>
              <a:gd name="connsiteX1" fmla="*/ 70110 w 1262539"/>
              <a:gd name="connsiteY1" fmla="*/ 258216 h 523160"/>
              <a:gd name="connsiteX2" fmla="*/ 109153 w 1262539"/>
              <a:gd name="connsiteY2" fmla="*/ 128579 h 523160"/>
              <a:gd name="connsiteX3" fmla="*/ 55626 w 1262539"/>
              <a:gd name="connsiteY3" fmla="*/ 12346 h 523160"/>
              <a:gd name="connsiteX4" fmla="*/ 1048603 w 1262539"/>
              <a:gd name="connsiteY4" fmla="*/ 0 h 523160"/>
              <a:gd name="connsiteX5" fmla="*/ 1071393 w 1262539"/>
              <a:gd name="connsiteY5" fmla="*/ 42865 h 523160"/>
              <a:gd name="connsiteX6" fmla="*/ 1096495 w 1262539"/>
              <a:gd name="connsiteY6" fmla="*/ 98274 h 523160"/>
              <a:gd name="connsiteX7" fmla="*/ 1118407 w 1262539"/>
              <a:gd name="connsiteY7" fmla="*/ 148311 h 523160"/>
              <a:gd name="connsiteX8" fmla="*/ 1138896 w 1262539"/>
              <a:gd name="connsiteY8" fmla="*/ 196968 h 523160"/>
              <a:gd name="connsiteX9" fmla="*/ 1148097 w 1262539"/>
              <a:gd name="connsiteY9" fmla="*/ 243669 h 523160"/>
              <a:gd name="connsiteX10" fmla="*/ 1158949 w 1262539"/>
              <a:gd name="connsiteY10" fmla="*/ 297266 h 523160"/>
              <a:gd name="connsiteX11" fmla="*/ 1262539 w 1262539"/>
              <a:gd name="connsiteY11" fmla="*/ 383400 h 523160"/>
              <a:gd name="connsiteX12" fmla="*/ 1256762 w 1262539"/>
              <a:gd name="connsiteY12" fmla="*/ 447698 h 523160"/>
              <a:gd name="connsiteX13" fmla="*/ 1213664 w 1262539"/>
              <a:gd name="connsiteY13" fmla="*/ 523160 h 523160"/>
              <a:gd name="connsiteX14" fmla="*/ 1173387 w 1262539"/>
              <a:gd name="connsiteY14" fmla="*/ 448366 h 523160"/>
              <a:gd name="connsiteX15" fmla="*/ 0 w 1262539"/>
              <a:gd name="connsiteY15" fmla="*/ 324122 h 523160"/>
              <a:gd name="connsiteX0" fmla="*/ 0 w 1262539"/>
              <a:gd name="connsiteY0" fmla="*/ 324122 h 523160"/>
              <a:gd name="connsiteX1" fmla="*/ 70110 w 1262539"/>
              <a:gd name="connsiteY1" fmla="*/ 258216 h 523160"/>
              <a:gd name="connsiteX2" fmla="*/ 109153 w 1262539"/>
              <a:gd name="connsiteY2" fmla="*/ 128579 h 523160"/>
              <a:gd name="connsiteX3" fmla="*/ 55626 w 1262539"/>
              <a:gd name="connsiteY3" fmla="*/ 12346 h 523160"/>
              <a:gd name="connsiteX4" fmla="*/ 1048603 w 1262539"/>
              <a:gd name="connsiteY4" fmla="*/ 0 h 523160"/>
              <a:gd name="connsiteX5" fmla="*/ 1071393 w 1262539"/>
              <a:gd name="connsiteY5" fmla="*/ 42865 h 523160"/>
              <a:gd name="connsiteX6" fmla="*/ 1096495 w 1262539"/>
              <a:gd name="connsiteY6" fmla="*/ 98274 h 523160"/>
              <a:gd name="connsiteX7" fmla="*/ 1118407 w 1262539"/>
              <a:gd name="connsiteY7" fmla="*/ 148311 h 523160"/>
              <a:gd name="connsiteX8" fmla="*/ 1134295 w 1262539"/>
              <a:gd name="connsiteY8" fmla="*/ 196968 h 523160"/>
              <a:gd name="connsiteX9" fmla="*/ 1148097 w 1262539"/>
              <a:gd name="connsiteY9" fmla="*/ 243669 h 523160"/>
              <a:gd name="connsiteX10" fmla="*/ 1158949 w 1262539"/>
              <a:gd name="connsiteY10" fmla="*/ 297266 h 523160"/>
              <a:gd name="connsiteX11" fmla="*/ 1262539 w 1262539"/>
              <a:gd name="connsiteY11" fmla="*/ 383400 h 523160"/>
              <a:gd name="connsiteX12" fmla="*/ 1256762 w 1262539"/>
              <a:gd name="connsiteY12" fmla="*/ 447698 h 523160"/>
              <a:gd name="connsiteX13" fmla="*/ 1213664 w 1262539"/>
              <a:gd name="connsiteY13" fmla="*/ 523160 h 523160"/>
              <a:gd name="connsiteX14" fmla="*/ 1173387 w 1262539"/>
              <a:gd name="connsiteY14" fmla="*/ 448366 h 523160"/>
              <a:gd name="connsiteX15" fmla="*/ 0 w 1262539"/>
              <a:gd name="connsiteY15" fmla="*/ 324122 h 523160"/>
              <a:gd name="connsiteX0" fmla="*/ 0 w 1256762"/>
              <a:gd name="connsiteY0" fmla="*/ 324122 h 523160"/>
              <a:gd name="connsiteX1" fmla="*/ 70110 w 1256762"/>
              <a:gd name="connsiteY1" fmla="*/ 258216 h 523160"/>
              <a:gd name="connsiteX2" fmla="*/ 109153 w 1256762"/>
              <a:gd name="connsiteY2" fmla="*/ 128579 h 523160"/>
              <a:gd name="connsiteX3" fmla="*/ 55626 w 1256762"/>
              <a:gd name="connsiteY3" fmla="*/ 12346 h 523160"/>
              <a:gd name="connsiteX4" fmla="*/ 1048603 w 1256762"/>
              <a:gd name="connsiteY4" fmla="*/ 0 h 523160"/>
              <a:gd name="connsiteX5" fmla="*/ 1071393 w 1256762"/>
              <a:gd name="connsiteY5" fmla="*/ 42865 h 523160"/>
              <a:gd name="connsiteX6" fmla="*/ 1096495 w 1256762"/>
              <a:gd name="connsiteY6" fmla="*/ 98274 h 523160"/>
              <a:gd name="connsiteX7" fmla="*/ 1118407 w 1256762"/>
              <a:gd name="connsiteY7" fmla="*/ 148311 h 523160"/>
              <a:gd name="connsiteX8" fmla="*/ 1134295 w 1256762"/>
              <a:gd name="connsiteY8" fmla="*/ 196968 h 523160"/>
              <a:gd name="connsiteX9" fmla="*/ 1148097 w 1256762"/>
              <a:gd name="connsiteY9" fmla="*/ 243669 h 523160"/>
              <a:gd name="connsiteX10" fmla="*/ 1158949 w 1256762"/>
              <a:gd name="connsiteY10" fmla="*/ 297266 h 523160"/>
              <a:gd name="connsiteX11" fmla="*/ 1165916 w 1256762"/>
              <a:gd name="connsiteY11" fmla="*/ 344108 h 523160"/>
              <a:gd name="connsiteX12" fmla="*/ 1256762 w 1256762"/>
              <a:gd name="connsiteY12" fmla="*/ 447698 h 523160"/>
              <a:gd name="connsiteX13" fmla="*/ 1213664 w 1256762"/>
              <a:gd name="connsiteY13" fmla="*/ 523160 h 523160"/>
              <a:gd name="connsiteX14" fmla="*/ 1173387 w 1256762"/>
              <a:gd name="connsiteY14" fmla="*/ 448366 h 523160"/>
              <a:gd name="connsiteX15" fmla="*/ 0 w 1256762"/>
              <a:gd name="connsiteY15" fmla="*/ 324122 h 523160"/>
              <a:gd name="connsiteX0" fmla="*/ 0 w 1213664"/>
              <a:gd name="connsiteY0" fmla="*/ 324122 h 523160"/>
              <a:gd name="connsiteX1" fmla="*/ 70110 w 1213664"/>
              <a:gd name="connsiteY1" fmla="*/ 258216 h 523160"/>
              <a:gd name="connsiteX2" fmla="*/ 109153 w 1213664"/>
              <a:gd name="connsiteY2" fmla="*/ 128579 h 523160"/>
              <a:gd name="connsiteX3" fmla="*/ 55626 w 1213664"/>
              <a:gd name="connsiteY3" fmla="*/ 12346 h 523160"/>
              <a:gd name="connsiteX4" fmla="*/ 1048603 w 1213664"/>
              <a:gd name="connsiteY4" fmla="*/ 0 h 523160"/>
              <a:gd name="connsiteX5" fmla="*/ 1071393 w 1213664"/>
              <a:gd name="connsiteY5" fmla="*/ 42865 h 523160"/>
              <a:gd name="connsiteX6" fmla="*/ 1096495 w 1213664"/>
              <a:gd name="connsiteY6" fmla="*/ 98274 h 523160"/>
              <a:gd name="connsiteX7" fmla="*/ 1118407 w 1213664"/>
              <a:gd name="connsiteY7" fmla="*/ 148311 h 523160"/>
              <a:gd name="connsiteX8" fmla="*/ 1134295 w 1213664"/>
              <a:gd name="connsiteY8" fmla="*/ 196968 h 523160"/>
              <a:gd name="connsiteX9" fmla="*/ 1148097 w 1213664"/>
              <a:gd name="connsiteY9" fmla="*/ 243669 h 523160"/>
              <a:gd name="connsiteX10" fmla="*/ 1158949 w 1213664"/>
              <a:gd name="connsiteY10" fmla="*/ 297266 h 523160"/>
              <a:gd name="connsiteX11" fmla="*/ 1165916 w 1213664"/>
              <a:gd name="connsiteY11" fmla="*/ 344108 h 523160"/>
              <a:gd name="connsiteX12" fmla="*/ 1170491 w 1213664"/>
              <a:gd name="connsiteY12" fmla="*/ 390070 h 523160"/>
              <a:gd name="connsiteX13" fmla="*/ 1213664 w 1213664"/>
              <a:gd name="connsiteY13" fmla="*/ 523160 h 523160"/>
              <a:gd name="connsiteX14" fmla="*/ 1173387 w 1213664"/>
              <a:gd name="connsiteY14" fmla="*/ 448366 h 523160"/>
              <a:gd name="connsiteX15" fmla="*/ 0 w 1213664"/>
              <a:gd name="connsiteY15" fmla="*/ 324122 h 523160"/>
              <a:gd name="connsiteX0" fmla="*/ 0 w 1173387"/>
              <a:gd name="connsiteY0" fmla="*/ 324122 h 448366"/>
              <a:gd name="connsiteX1" fmla="*/ 70110 w 1173387"/>
              <a:gd name="connsiteY1" fmla="*/ 258216 h 448366"/>
              <a:gd name="connsiteX2" fmla="*/ 109153 w 1173387"/>
              <a:gd name="connsiteY2" fmla="*/ 128579 h 448366"/>
              <a:gd name="connsiteX3" fmla="*/ 55626 w 1173387"/>
              <a:gd name="connsiteY3" fmla="*/ 12346 h 448366"/>
              <a:gd name="connsiteX4" fmla="*/ 1048603 w 1173387"/>
              <a:gd name="connsiteY4" fmla="*/ 0 h 448366"/>
              <a:gd name="connsiteX5" fmla="*/ 1071393 w 1173387"/>
              <a:gd name="connsiteY5" fmla="*/ 42865 h 448366"/>
              <a:gd name="connsiteX6" fmla="*/ 1096495 w 1173387"/>
              <a:gd name="connsiteY6" fmla="*/ 98274 h 448366"/>
              <a:gd name="connsiteX7" fmla="*/ 1118407 w 1173387"/>
              <a:gd name="connsiteY7" fmla="*/ 148311 h 448366"/>
              <a:gd name="connsiteX8" fmla="*/ 1134295 w 1173387"/>
              <a:gd name="connsiteY8" fmla="*/ 196968 h 448366"/>
              <a:gd name="connsiteX9" fmla="*/ 1148097 w 1173387"/>
              <a:gd name="connsiteY9" fmla="*/ 243669 h 448366"/>
              <a:gd name="connsiteX10" fmla="*/ 1158949 w 1173387"/>
              <a:gd name="connsiteY10" fmla="*/ 297266 h 448366"/>
              <a:gd name="connsiteX11" fmla="*/ 1165916 w 1173387"/>
              <a:gd name="connsiteY11" fmla="*/ 344108 h 448366"/>
              <a:gd name="connsiteX12" fmla="*/ 1170491 w 1173387"/>
              <a:gd name="connsiteY12" fmla="*/ 390070 h 448366"/>
              <a:gd name="connsiteX13" fmla="*/ 1168803 w 1173387"/>
              <a:gd name="connsiteY13" fmla="*/ 426239 h 448366"/>
              <a:gd name="connsiteX14" fmla="*/ 1173387 w 1173387"/>
              <a:gd name="connsiteY14" fmla="*/ 448366 h 448366"/>
              <a:gd name="connsiteX15" fmla="*/ 0 w 1173387"/>
              <a:gd name="connsiteY15" fmla="*/ 324122 h 448366"/>
              <a:gd name="connsiteX0" fmla="*/ 0 w 1175118"/>
              <a:gd name="connsiteY0" fmla="*/ 324122 h 448366"/>
              <a:gd name="connsiteX1" fmla="*/ 70110 w 1175118"/>
              <a:gd name="connsiteY1" fmla="*/ 258216 h 448366"/>
              <a:gd name="connsiteX2" fmla="*/ 109153 w 1175118"/>
              <a:gd name="connsiteY2" fmla="*/ 128579 h 448366"/>
              <a:gd name="connsiteX3" fmla="*/ 55626 w 1175118"/>
              <a:gd name="connsiteY3" fmla="*/ 12346 h 448366"/>
              <a:gd name="connsiteX4" fmla="*/ 1048603 w 1175118"/>
              <a:gd name="connsiteY4" fmla="*/ 0 h 448366"/>
              <a:gd name="connsiteX5" fmla="*/ 1071393 w 1175118"/>
              <a:gd name="connsiteY5" fmla="*/ 42865 h 448366"/>
              <a:gd name="connsiteX6" fmla="*/ 1096495 w 1175118"/>
              <a:gd name="connsiteY6" fmla="*/ 98274 h 448366"/>
              <a:gd name="connsiteX7" fmla="*/ 1118407 w 1175118"/>
              <a:gd name="connsiteY7" fmla="*/ 148311 h 448366"/>
              <a:gd name="connsiteX8" fmla="*/ 1134295 w 1175118"/>
              <a:gd name="connsiteY8" fmla="*/ 196968 h 448366"/>
              <a:gd name="connsiteX9" fmla="*/ 1148097 w 1175118"/>
              <a:gd name="connsiteY9" fmla="*/ 243669 h 448366"/>
              <a:gd name="connsiteX10" fmla="*/ 1158949 w 1175118"/>
              <a:gd name="connsiteY10" fmla="*/ 297266 h 448366"/>
              <a:gd name="connsiteX11" fmla="*/ 1165916 w 1175118"/>
              <a:gd name="connsiteY11" fmla="*/ 344108 h 448366"/>
              <a:gd name="connsiteX12" fmla="*/ 1170491 w 1175118"/>
              <a:gd name="connsiteY12" fmla="*/ 390070 h 448366"/>
              <a:gd name="connsiteX13" fmla="*/ 1174555 w 1175118"/>
              <a:gd name="connsiteY13" fmla="*/ 424493 h 448366"/>
              <a:gd name="connsiteX14" fmla="*/ 1173387 w 1175118"/>
              <a:gd name="connsiteY14" fmla="*/ 448366 h 448366"/>
              <a:gd name="connsiteX15" fmla="*/ 0 w 1175118"/>
              <a:gd name="connsiteY15" fmla="*/ 324122 h 448366"/>
              <a:gd name="connsiteX0" fmla="*/ 0 w 1175118"/>
              <a:gd name="connsiteY0" fmla="*/ 324122 h 448366"/>
              <a:gd name="connsiteX1" fmla="*/ 51706 w 1175118"/>
              <a:gd name="connsiteY1" fmla="*/ 273060 h 448366"/>
              <a:gd name="connsiteX2" fmla="*/ 109153 w 1175118"/>
              <a:gd name="connsiteY2" fmla="*/ 128579 h 448366"/>
              <a:gd name="connsiteX3" fmla="*/ 55626 w 1175118"/>
              <a:gd name="connsiteY3" fmla="*/ 12346 h 448366"/>
              <a:gd name="connsiteX4" fmla="*/ 1048603 w 1175118"/>
              <a:gd name="connsiteY4" fmla="*/ 0 h 448366"/>
              <a:gd name="connsiteX5" fmla="*/ 1071393 w 1175118"/>
              <a:gd name="connsiteY5" fmla="*/ 42865 h 448366"/>
              <a:gd name="connsiteX6" fmla="*/ 1096495 w 1175118"/>
              <a:gd name="connsiteY6" fmla="*/ 98274 h 448366"/>
              <a:gd name="connsiteX7" fmla="*/ 1118407 w 1175118"/>
              <a:gd name="connsiteY7" fmla="*/ 148311 h 448366"/>
              <a:gd name="connsiteX8" fmla="*/ 1134295 w 1175118"/>
              <a:gd name="connsiteY8" fmla="*/ 196968 h 448366"/>
              <a:gd name="connsiteX9" fmla="*/ 1148097 w 1175118"/>
              <a:gd name="connsiteY9" fmla="*/ 243669 h 448366"/>
              <a:gd name="connsiteX10" fmla="*/ 1158949 w 1175118"/>
              <a:gd name="connsiteY10" fmla="*/ 297266 h 448366"/>
              <a:gd name="connsiteX11" fmla="*/ 1165916 w 1175118"/>
              <a:gd name="connsiteY11" fmla="*/ 344108 h 448366"/>
              <a:gd name="connsiteX12" fmla="*/ 1170491 w 1175118"/>
              <a:gd name="connsiteY12" fmla="*/ 390070 h 448366"/>
              <a:gd name="connsiteX13" fmla="*/ 1174555 w 1175118"/>
              <a:gd name="connsiteY13" fmla="*/ 424493 h 448366"/>
              <a:gd name="connsiteX14" fmla="*/ 1173387 w 1175118"/>
              <a:gd name="connsiteY14" fmla="*/ 448366 h 448366"/>
              <a:gd name="connsiteX15" fmla="*/ 0 w 1175118"/>
              <a:gd name="connsiteY15" fmla="*/ 324122 h 448366"/>
              <a:gd name="connsiteX0" fmla="*/ 0 w 1175118"/>
              <a:gd name="connsiteY0" fmla="*/ 324122 h 448366"/>
              <a:gd name="connsiteX1" fmla="*/ 51706 w 1175118"/>
              <a:gd name="connsiteY1" fmla="*/ 273060 h 448366"/>
              <a:gd name="connsiteX2" fmla="*/ 78443 w 1175118"/>
              <a:gd name="connsiteY2" fmla="*/ 202545 h 448366"/>
              <a:gd name="connsiteX3" fmla="*/ 109153 w 1175118"/>
              <a:gd name="connsiteY3" fmla="*/ 128579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9153 w 1175118"/>
              <a:gd name="connsiteY3" fmla="*/ 128579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80743 w 1175118"/>
              <a:gd name="connsiteY4" fmla="*/ 80303 h 448366"/>
              <a:gd name="connsiteX5" fmla="*/ 55626 w 1175118"/>
              <a:gd name="connsiteY5" fmla="*/ 12346 h 448366"/>
              <a:gd name="connsiteX6" fmla="*/ 1048603 w 1175118"/>
              <a:gd name="connsiteY6" fmla="*/ 0 h 448366"/>
              <a:gd name="connsiteX7" fmla="*/ 1071393 w 1175118"/>
              <a:gd name="connsiteY7" fmla="*/ 42865 h 448366"/>
              <a:gd name="connsiteX8" fmla="*/ 1096495 w 1175118"/>
              <a:gd name="connsiteY8" fmla="*/ 98274 h 448366"/>
              <a:gd name="connsiteX9" fmla="*/ 1118407 w 1175118"/>
              <a:gd name="connsiteY9" fmla="*/ 148311 h 448366"/>
              <a:gd name="connsiteX10" fmla="*/ 1134295 w 1175118"/>
              <a:gd name="connsiteY10" fmla="*/ 196968 h 448366"/>
              <a:gd name="connsiteX11" fmla="*/ 1148097 w 1175118"/>
              <a:gd name="connsiteY11" fmla="*/ 243669 h 448366"/>
              <a:gd name="connsiteX12" fmla="*/ 1158949 w 1175118"/>
              <a:gd name="connsiteY12" fmla="*/ 297266 h 448366"/>
              <a:gd name="connsiteX13" fmla="*/ 1165916 w 1175118"/>
              <a:gd name="connsiteY13" fmla="*/ 344108 h 448366"/>
              <a:gd name="connsiteX14" fmla="*/ 1170491 w 1175118"/>
              <a:gd name="connsiteY14" fmla="*/ 390070 h 448366"/>
              <a:gd name="connsiteX15" fmla="*/ 1174555 w 1175118"/>
              <a:gd name="connsiteY15" fmla="*/ 424493 h 448366"/>
              <a:gd name="connsiteX16" fmla="*/ 1173387 w 1175118"/>
              <a:gd name="connsiteY16" fmla="*/ 448366 h 448366"/>
              <a:gd name="connsiteX17" fmla="*/ 0 w 1175118"/>
              <a:gd name="connsiteY17"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55626 w 1175118"/>
              <a:gd name="connsiteY5" fmla="*/ 12346 h 448366"/>
              <a:gd name="connsiteX6" fmla="*/ 1048603 w 1175118"/>
              <a:gd name="connsiteY6" fmla="*/ 0 h 448366"/>
              <a:gd name="connsiteX7" fmla="*/ 1071393 w 1175118"/>
              <a:gd name="connsiteY7" fmla="*/ 42865 h 448366"/>
              <a:gd name="connsiteX8" fmla="*/ 1096495 w 1175118"/>
              <a:gd name="connsiteY8" fmla="*/ 98274 h 448366"/>
              <a:gd name="connsiteX9" fmla="*/ 1118407 w 1175118"/>
              <a:gd name="connsiteY9" fmla="*/ 148311 h 448366"/>
              <a:gd name="connsiteX10" fmla="*/ 1134295 w 1175118"/>
              <a:gd name="connsiteY10" fmla="*/ 196968 h 448366"/>
              <a:gd name="connsiteX11" fmla="*/ 1148097 w 1175118"/>
              <a:gd name="connsiteY11" fmla="*/ 243669 h 448366"/>
              <a:gd name="connsiteX12" fmla="*/ 1158949 w 1175118"/>
              <a:gd name="connsiteY12" fmla="*/ 297266 h 448366"/>
              <a:gd name="connsiteX13" fmla="*/ 1165916 w 1175118"/>
              <a:gd name="connsiteY13" fmla="*/ 344108 h 448366"/>
              <a:gd name="connsiteX14" fmla="*/ 1170491 w 1175118"/>
              <a:gd name="connsiteY14" fmla="*/ 390070 h 448366"/>
              <a:gd name="connsiteX15" fmla="*/ 1174555 w 1175118"/>
              <a:gd name="connsiteY15" fmla="*/ 424493 h 448366"/>
              <a:gd name="connsiteX16" fmla="*/ 1173387 w 1175118"/>
              <a:gd name="connsiteY16" fmla="*/ 448366 h 448366"/>
              <a:gd name="connsiteX17" fmla="*/ 0 w 1175118"/>
              <a:gd name="connsiteY17"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79593 w 1175118"/>
              <a:gd name="connsiteY5" fmla="*/ 50615 h 448366"/>
              <a:gd name="connsiteX6" fmla="*/ 55626 w 1175118"/>
              <a:gd name="connsiteY6" fmla="*/ 12346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55626 w 1175118"/>
              <a:gd name="connsiteY6" fmla="*/ 12346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71730 w 1175118"/>
              <a:gd name="connsiteY6" fmla="*/ 11473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77482 w 1175118"/>
              <a:gd name="connsiteY6" fmla="*/ 11473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5118" h="448366">
                <a:moveTo>
                  <a:pt x="0" y="324122"/>
                </a:moveTo>
                <a:lnTo>
                  <a:pt x="51706" y="273060"/>
                </a:lnTo>
                <a:lnTo>
                  <a:pt x="88795" y="204291"/>
                </a:lnTo>
                <a:lnTo>
                  <a:pt x="104552" y="140803"/>
                </a:lnTo>
                <a:cubicBezTo>
                  <a:pt x="105051" y="125875"/>
                  <a:pt x="105551" y="110948"/>
                  <a:pt x="106050" y="96020"/>
                </a:cubicBezTo>
                <a:lnTo>
                  <a:pt x="94547" y="50615"/>
                </a:lnTo>
                <a:lnTo>
                  <a:pt x="77482" y="11473"/>
                </a:lnTo>
                <a:lnTo>
                  <a:pt x="1048603" y="0"/>
                </a:lnTo>
                <a:cubicBezTo>
                  <a:pt x="1058519" y="23695"/>
                  <a:pt x="1051127" y="4326"/>
                  <a:pt x="1071393" y="42865"/>
                </a:cubicBezTo>
                <a:lnTo>
                  <a:pt x="1096495" y="98274"/>
                </a:lnTo>
                <a:lnTo>
                  <a:pt x="1118407" y="148311"/>
                </a:lnTo>
                <a:lnTo>
                  <a:pt x="1134295" y="196968"/>
                </a:lnTo>
                <a:lnTo>
                  <a:pt x="1148097" y="243669"/>
                </a:lnTo>
                <a:lnTo>
                  <a:pt x="1158949" y="297266"/>
                </a:lnTo>
                <a:lnTo>
                  <a:pt x="1165916" y="344108"/>
                </a:lnTo>
                <a:lnTo>
                  <a:pt x="1170491" y="390070"/>
                </a:lnTo>
                <a:cubicBezTo>
                  <a:pt x="1169928" y="402126"/>
                  <a:pt x="1175118" y="412437"/>
                  <a:pt x="1174555" y="424493"/>
                </a:cubicBezTo>
                <a:cubicBezTo>
                  <a:pt x="1174166" y="432451"/>
                  <a:pt x="1173776" y="440408"/>
                  <a:pt x="1173387" y="448366"/>
                </a:cubicBezTo>
                <a:lnTo>
                  <a:pt x="0" y="324122"/>
                </a:lnTo>
                <a:close/>
              </a:path>
            </a:pathLst>
          </a:custGeom>
          <a:solidFill>
            <a:srgbClr val="06C245">
              <a:alpha val="50000"/>
            </a:srgbClr>
          </a:solidFill>
          <a:ln w="9525" cap="flat" cmpd="sng" algn="ctr">
            <a:solidFill>
              <a:srgbClr val="06C245"/>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02" name="Rounded Rectangle 1001"/>
          <p:cNvSpPr/>
          <p:nvPr>
            <p:custDataLst>
              <p:tags r:id="rId7"/>
            </p:custDataLst>
          </p:nvPr>
        </p:nvSpPr>
        <p:spPr>
          <a:xfrm>
            <a:off x="7988877" y="1392196"/>
            <a:ext cx="1041400" cy="774700"/>
          </a:xfrm>
          <a:prstGeom prst="roundRect">
            <a:avLst/>
          </a:prstGeom>
          <a:solidFill>
            <a:schemeClr val="tx1"/>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Community engagement</a:t>
            </a:r>
          </a:p>
        </p:txBody>
      </p:sp>
      <p:sp>
        <p:nvSpPr>
          <p:cNvPr id="1003" name="Freeform 1002"/>
          <p:cNvSpPr/>
          <p:nvPr>
            <p:custDataLst>
              <p:tags r:id="rId8"/>
            </p:custDataLst>
          </p:nvPr>
        </p:nvSpPr>
        <p:spPr bwMode="gray">
          <a:xfrm>
            <a:off x="6714894" y="2143547"/>
            <a:ext cx="2691807" cy="2109066"/>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53527 w 1702094"/>
              <a:gd name="connsiteY0" fmla="*/ 226025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648044 w 1702094"/>
              <a:gd name="connsiteY2" fmla="*/ 32097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226025 h 1201511"/>
              <a:gd name="connsiteX1" fmla="*/ 77639 w 1702094"/>
              <a:gd name="connsiteY1" fmla="*/ 215697 h 1201511"/>
              <a:gd name="connsiteX2" fmla="*/ 89463 w 1702094"/>
              <a:gd name="connsiteY2" fmla="*/ 201148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48660 h 1024146"/>
              <a:gd name="connsiteX1" fmla="*/ 77639 w 1702094"/>
              <a:gd name="connsiteY1" fmla="*/ 38332 h 1024146"/>
              <a:gd name="connsiteX2" fmla="*/ 89463 w 1702094"/>
              <a:gd name="connsiteY2" fmla="*/ 23783 h 1024146"/>
              <a:gd name="connsiteX3" fmla="*/ 135742 w 1702094"/>
              <a:gd name="connsiteY3" fmla="*/ 0 h 1024146"/>
              <a:gd name="connsiteX4" fmla="*/ 1702094 w 1702094"/>
              <a:gd name="connsiteY4" fmla="*/ 529780 h 1024146"/>
              <a:gd name="connsiteX5" fmla="*/ 1627767 w 1702094"/>
              <a:gd name="connsiteY5" fmla="*/ 609179 h 1024146"/>
              <a:gd name="connsiteX6" fmla="*/ 1526690 w 1702094"/>
              <a:gd name="connsiteY6" fmla="*/ 700838 h 1024146"/>
              <a:gd name="connsiteX7" fmla="*/ 1422699 w 1702094"/>
              <a:gd name="connsiteY7" fmla="*/ 769158 h 1024146"/>
              <a:gd name="connsiteX8" fmla="*/ 1280144 w 1702094"/>
              <a:gd name="connsiteY8" fmla="*/ 843592 h 1024146"/>
              <a:gd name="connsiteX9" fmla="*/ 1127806 w 1702094"/>
              <a:gd name="connsiteY9" fmla="*/ 916431 h 1024146"/>
              <a:gd name="connsiteX10" fmla="*/ 990279 w 1702094"/>
              <a:gd name="connsiteY10" fmla="*/ 959516 h 1024146"/>
              <a:gd name="connsiteX11" fmla="*/ 810491 w 1702094"/>
              <a:gd name="connsiteY11" fmla="*/ 1001897 h 1024146"/>
              <a:gd name="connsiteX12" fmla="*/ 586912 w 1702094"/>
              <a:gd name="connsiteY12" fmla="*/ 1024146 h 1024146"/>
              <a:gd name="connsiteX13" fmla="*/ 392889 w 1702094"/>
              <a:gd name="connsiteY13" fmla="*/ 1023078 h 1024146"/>
              <a:gd name="connsiteX14" fmla="*/ 238097 w 1702094"/>
              <a:gd name="connsiteY14" fmla="*/ 1011754 h 1024146"/>
              <a:gd name="connsiteX15" fmla="*/ 101191 w 1702094"/>
              <a:gd name="connsiteY15" fmla="*/ 989583 h 1024146"/>
              <a:gd name="connsiteX16" fmla="*/ 0 w 1702094"/>
              <a:gd name="connsiteY16" fmla="*/ 964178 h 1024146"/>
              <a:gd name="connsiteX17" fmla="*/ 53527 w 1702094"/>
              <a:gd name="connsiteY17" fmla="*/ 48660 h 1024146"/>
              <a:gd name="connsiteX0" fmla="*/ 53527 w 1627767"/>
              <a:gd name="connsiteY0" fmla="*/ 48660 h 1024146"/>
              <a:gd name="connsiteX1" fmla="*/ 77639 w 1627767"/>
              <a:gd name="connsiteY1" fmla="*/ 38332 h 1024146"/>
              <a:gd name="connsiteX2" fmla="*/ 89463 w 1627767"/>
              <a:gd name="connsiteY2" fmla="*/ 23783 h 1024146"/>
              <a:gd name="connsiteX3" fmla="*/ 135742 w 1627767"/>
              <a:gd name="connsiteY3" fmla="*/ 0 h 1024146"/>
              <a:gd name="connsiteX4" fmla="*/ 1282245 w 1627767"/>
              <a:gd name="connsiteY4" fmla="*/ 130709 h 1024146"/>
              <a:gd name="connsiteX5" fmla="*/ 1627767 w 1627767"/>
              <a:gd name="connsiteY5" fmla="*/ 609179 h 1024146"/>
              <a:gd name="connsiteX6" fmla="*/ 1526690 w 1627767"/>
              <a:gd name="connsiteY6" fmla="*/ 700838 h 1024146"/>
              <a:gd name="connsiteX7" fmla="*/ 1422699 w 1627767"/>
              <a:gd name="connsiteY7" fmla="*/ 769158 h 1024146"/>
              <a:gd name="connsiteX8" fmla="*/ 1280144 w 1627767"/>
              <a:gd name="connsiteY8" fmla="*/ 843592 h 1024146"/>
              <a:gd name="connsiteX9" fmla="*/ 1127806 w 1627767"/>
              <a:gd name="connsiteY9" fmla="*/ 916431 h 1024146"/>
              <a:gd name="connsiteX10" fmla="*/ 990279 w 1627767"/>
              <a:gd name="connsiteY10" fmla="*/ 959516 h 1024146"/>
              <a:gd name="connsiteX11" fmla="*/ 810491 w 1627767"/>
              <a:gd name="connsiteY11" fmla="*/ 1001897 h 1024146"/>
              <a:gd name="connsiteX12" fmla="*/ 586912 w 1627767"/>
              <a:gd name="connsiteY12" fmla="*/ 1024146 h 1024146"/>
              <a:gd name="connsiteX13" fmla="*/ 392889 w 1627767"/>
              <a:gd name="connsiteY13" fmla="*/ 1023078 h 1024146"/>
              <a:gd name="connsiteX14" fmla="*/ 238097 w 1627767"/>
              <a:gd name="connsiteY14" fmla="*/ 1011754 h 1024146"/>
              <a:gd name="connsiteX15" fmla="*/ 101191 w 1627767"/>
              <a:gd name="connsiteY15" fmla="*/ 989583 h 1024146"/>
              <a:gd name="connsiteX16" fmla="*/ 0 w 1627767"/>
              <a:gd name="connsiteY16" fmla="*/ 964178 h 1024146"/>
              <a:gd name="connsiteX17" fmla="*/ 53527 w 1627767"/>
              <a:gd name="connsiteY17" fmla="*/ 48660 h 1024146"/>
              <a:gd name="connsiteX0" fmla="*/ 53527 w 1526690"/>
              <a:gd name="connsiteY0" fmla="*/ 48660 h 1024146"/>
              <a:gd name="connsiteX1" fmla="*/ 77639 w 1526690"/>
              <a:gd name="connsiteY1" fmla="*/ 38332 h 1024146"/>
              <a:gd name="connsiteX2" fmla="*/ 89463 w 1526690"/>
              <a:gd name="connsiteY2" fmla="*/ 23783 h 1024146"/>
              <a:gd name="connsiteX3" fmla="*/ 135742 w 1526690"/>
              <a:gd name="connsiteY3" fmla="*/ 0 h 1024146"/>
              <a:gd name="connsiteX4" fmla="*/ 1282245 w 1526690"/>
              <a:gd name="connsiteY4" fmla="*/ 130709 h 1024146"/>
              <a:gd name="connsiteX5" fmla="*/ 1280935 w 1526690"/>
              <a:gd name="connsiteY5" fmla="*/ 201794 h 1024146"/>
              <a:gd name="connsiteX6" fmla="*/ 1526690 w 1526690"/>
              <a:gd name="connsiteY6" fmla="*/ 700838 h 1024146"/>
              <a:gd name="connsiteX7" fmla="*/ 1422699 w 1526690"/>
              <a:gd name="connsiteY7" fmla="*/ 769158 h 1024146"/>
              <a:gd name="connsiteX8" fmla="*/ 1280144 w 1526690"/>
              <a:gd name="connsiteY8" fmla="*/ 843592 h 1024146"/>
              <a:gd name="connsiteX9" fmla="*/ 1127806 w 1526690"/>
              <a:gd name="connsiteY9" fmla="*/ 916431 h 1024146"/>
              <a:gd name="connsiteX10" fmla="*/ 990279 w 1526690"/>
              <a:gd name="connsiteY10" fmla="*/ 959516 h 1024146"/>
              <a:gd name="connsiteX11" fmla="*/ 810491 w 1526690"/>
              <a:gd name="connsiteY11" fmla="*/ 1001897 h 1024146"/>
              <a:gd name="connsiteX12" fmla="*/ 586912 w 1526690"/>
              <a:gd name="connsiteY12" fmla="*/ 1024146 h 1024146"/>
              <a:gd name="connsiteX13" fmla="*/ 392889 w 1526690"/>
              <a:gd name="connsiteY13" fmla="*/ 1023078 h 1024146"/>
              <a:gd name="connsiteX14" fmla="*/ 238097 w 1526690"/>
              <a:gd name="connsiteY14" fmla="*/ 1011754 h 1024146"/>
              <a:gd name="connsiteX15" fmla="*/ 101191 w 1526690"/>
              <a:gd name="connsiteY15" fmla="*/ 989583 h 1024146"/>
              <a:gd name="connsiteX16" fmla="*/ 0 w 1526690"/>
              <a:gd name="connsiteY16" fmla="*/ 964178 h 1024146"/>
              <a:gd name="connsiteX17" fmla="*/ 53527 w 1526690"/>
              <a:gd name="connsiteY17" fmla="*/ 48660 h 1024146"/>
              <a:gd name="connsiteX0" fmla="*/ 53527 w 1422699"/>
              <a:gd name="connsiteY0" fmla="*/ 48660 h 1024146"/>
              <a:gd name="connsiteX1" fmla="*/ 77639 w 1422699"/>
              <a:gd name="connsiteY1" fmla="*/ 38332 h 1024146"/>
              <a:gd name="connsiteX2" fmla="*/ 89463 w 1422699"/>
              <a:gd name="connsiteY2" fmla="*/ 23783 h 1024146"/>
              <a:gd name="connsiteX3" fmla="*/ 135742 w 1422699"/>
              <a:gd name="connsiteY3" fmla="*/ 0 h 1024146"/>
              <a:gd name="connsiteX4" fmla="*/ 1282245 w 1422699"/>
              <a:gd name="connsiteY4" fmla="*/ 130709 h 1024146"/>
              <a:gd name="connsiteX5" fmla="*/ 1280935 w 1422699"/>
              <a:gd name="connsiteY5" fmla="*/ 201794 h 1024146"/>
              <a:gd name="connsiteX6" fmla="*/ 1278431 w 1422699"/>
              <a:gd name="connsiteY6" fmla="*/ 251883 h 1024146"/>
              <a:gd name="connsiteX7" fmla="*/ 1422699 w 1422699"/>
              <a:gd name="connsiteY7" fmla="*/ 769158 h 1024146"/>
              <a:gd name="connsiteX8" fmla="*/ 1280144 w 1422699"/>
              <a:gd name="connsiteY8" fmla="*/ 843592 h 1024146"/>
              <a:gd name="connsiteX9" fmla="*/ 1127806 w 1422699"/>
              <a:gd name="connsiteY9" fmla="*/ 916431 h 1024146"/>
              <a:gd name="connsiteX10" fmla="*/ 990279 w 1422699"/>
              <a:gd name="connsiteY10" fmla="*/ 959516 h 1024146"/>
              <a:gd name="connsiteX11" fmla="*/ 810491 w 1422699"/>
              <a:gd name="connsiteY11" fmla="*/ 1001897 h 1024146"/>
              <a:gd name="connsiteX12" fmla="*/ 586912 w 1422699"/>
              <a:gd name="connsiteY12" fmla="*/ 1024146 h 1024146"/>
              <a:gd name="connsiteX13" fmla="*/ 392889 w 1422699"/>
              <a:gd name="connsiteY13" fmla="*/ 1023078 h 1024146"/>
              <a:gd name="connsiteX14" fmla="*/ 238097 w 1422699"/>
              <a:gd name="connsiteY14" fmla="*/ 1011754 h 1024146"/>
              <a:gd name="connsiteX15" fmla="*/ 101191 w 1422699"/>
              <a:gd name="connsiteY15" fmla="*/ 989583 h 1024146"/>
              <a:gd name="connsiteX16" fmla="*/ 0 w 1422699"/>
              <a:gd name="connsiteY16" fmla="*/ 964178 h 1024146"/>
              <a:gd name="connsiteX17" fmla="*/ 53527 w 1422699"/>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80144 w 1282245"/>
              <a:gd name="connsiteY8" fmla="*/ 843592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1197482 w 1282245"/>
              <a:gd name="connsiteY11" fmla="*/ 544628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3078"/>
              <a:gd name="connsiteX1" fmla="*/ 77639 w 1282245"/>
              <a:gd name="connsiteY1" fmla="*/ 38332 h 1023078"/>
              <a:gd name="connsiteX2" fmla="*/ 89463 w 1282245"/>
              <a:gd name="connsiteY2" fmla="*/ 23783 h 1023078"/>
              <a:gd name="connsiteX3" fmla="*/ 135742 w 1282245"/>
              <a:gd name="connsiteY3" fmla="*/ 0 h 1023078"/>
              <a:gd name="connsiteX4" fmla="*/ 1282245 w 1282245"/>
              <a:gd name="connsiteY4" fmla="*/ 130709 h 1023078"/>
              <a:gd name="connsiteX5" fmla="*/ 1280935 w 1282245"/>
              <a:gd name="connsiteY5" fmla="*/ 201794 h 1023078"/>
              <a:gd name="connsiteX6" fmla="*/ 1278431 w 1282245"/>
              <a:gd name="connsiteY6" fmla="*/ 251883 h 1023078"/>
              <a:gd name="connsiteX7" fmla="*/ 1258410 w 1282245"/>
              <a:gd name="connsiteY7" fmla="*/ 314660 h 1023078"/>
              <a:gd name="connsiteX8" fmla="*/ 1254587 w 1282245"/>
              <a:gd name="connsiteY8" fmla="*/ 380780 h 1023078"/>
              <a:gd name="connsiteX9" fmla="*/ 1237332 w 1282245"/>
              <a:gd name="connsiteY9" fmla="*/ 431449 h 1023078"/>
              <a:gd name="connsiteX10" fmla="*/ 1227585 w 1282245"/>
              <a:gd name="connsiteY10" fmla="*/ 477305 h 1023078"/>
              <a:gd name="connsiteX11" fmla="*/ 1197482 w 1282245"/>
              <a:gd name="connsiteY11" fmla="*/ 544628 h 1023078"/>
              <a:gd name="connsiteX12" fmla="*/ 1149145 w 1282245"/>
              <a:gd name="connsiteY12" fmla="*/ 608447 h 1023078"/>
              <a:gd name="connsiteX13" fmla="*/ 392889 w 1282245"/>
              <a:gd name="connsiteY13" fmla="*/ 1023078 h 1023078"/>
              <a:gd name="connsiteX14" fmla="*/ 238097 w 1282245"/>
              <a:gd name="connsiteY14" fmla="*/ 1011754 h 1023078"/>
              <a:gd name="connsiteX15" fmla="*/ 101191 w 1282245"/>
              <a:gd name="connsiteY15" fmla="*/ 989583 h 1023078"/>
              <a:gd name="connsiteX16" fmla="*/ 0 w 1282245"/>
              <a:gd name="connsiteY16" fmla="*/ 964178 h 1023078"/>
              <a:gd name="connsiteX17" fmla="*/ 53527 w 1282245"/>
              <a:gd name="connsiteY17" fmla="*/ 48660 h 1023078"/>
              <a:gd name="connsiteX0" fmla="*/ 53527 w 1282245"/>
              <a:gd name="connsiteY0" fmla="*/ 48660 h 1011754"/>
              <a:gd name="connsiteX1" fmla="*/ 77639 w 1282245"/>
              <a:gd name="connsiteY1" fmla="*/ 38332 h 1011754"/>
              <a:gd name="connsiteX2" fmla="*/ 89463 w 1282245"/>
              <a:gd name="connsiteY2" fmla="*/ 23783 h 1011754"/>
              <a:gd name="connsiteX3" fmla="*/ 135742 w 1282245"/>
              <a:gd name="connsiteY3" fmla="*/ 0 h 1011754"/>
              <a:gd name="connsiteX4" fmla="*/ 1282245 w 1282245"/>
              <a:gd name="connsiteY4" fmla="*/ 130709 h 1011754"/>
              <a:gd name="connsiteX5" fmla="*/ 1280935 w 1282245"/>
              <a:gd name="connsiteY5" fmla="*/ 201794 h 1011754"/>
              <a:gd name="connsiteX6" fmla="*/ 1278431 w 1282245"/>
              <a:gd name="connsiteY6" fmla="*/ 251883 h 1011754"/>
              <a:gd name="connsiteX7" fmla="*/ 1258410 w 1282245"/>
              <a:gd name="connsiteY7" fmla="*/ 314660 h 1011754"/>
              <a:gd name="connsiteX8" fmla="*/ 1254587 w 1282245"/>
              <a:gd name="connsiteY8" fmla="*/ 380780 h 1011754"/>
              <a:gd name="connsiteX9" fmla="*/ 1237332 w 1282245"/>
              <a:gd name="connsiteY9" fmla="*/ 431449 h 1011754"/>
              <a:gd name="connsiteX10" fmla="*/ 1227585 w 1282245"/>
              <a:gd name="connsiteY10" fmla="*/ 477305 h 1011754"/>
              <a:gd name="connsiteX11" fmla="*/ 1197482 w 1282245"/>
              <a:gd name="connsiteY11" fmla="*/ 544628 h 1011754"/>
              <a:gd name="connsiteX12" fmla="*/ 1149145 w 1282245"/>
              <a:gd name="connsiteY12" fmla="*/ 608447 h 1011754"/>
              <a:gd name="connsiteX13" fmla="*/ 1130363 w 1282245"/>
              <a:gd name="connsiteY13" fmla="*/ 651720 h 1011754"/>
              <a:gd name="connsiteX14" fmla="*/ 238097 w 1282245"/>
              <a:gd name="connsiteY14" fmla="*/ 1011754 h 1011754"/>
              <a:gd name="connsiteX15" fmla="*/ 101191 w 1282245"/>
              <a:gd name="connsiteY15" fmla="*/ 989583 h 1011754"/>
              <a:gd name="connsiteX16" fmla="*/ 0 w 1282245"/>
              <a:gd name="connsiteY16" fmla="*/ 964178 h 1011754"/>
              <a:gd name="connsiteX17" fmla="*/ 53527 w 1282245"/>
              <a:gd name="connsiteY17" fmla="*/ 48660 h 1011754"/>
              <a:gd name="connsiteX0" fmla="*/ 53527 w 1282245"/>
              <a:gd name="connsiteY0" fmla="*/ 48660 h 989583"/>
              <a:gd name="connsiteX1" fmla="*/ 77639 w 1282245"/>
              <a:gd name="connsiteY1" fmla="*/ 38332 h 989583"/>
              <a:gd name="connsiteX2" fmla="*/ 89463 w 1282245"/>
              <a:gd name="connsiteY2" fmla="*/ 23783 h 989583"/>
              <a:gd name="connsiteX3" fmla="*/ 135742 w 1282245"/>
              <a:gd name="connsiteY3" fmla="*/ 0 h 989583"/>
              <a:gd name="connsiteX4" fmla="*/ 1282245 w 1282245"/>
              <a:gd name="connsiteY4" fmla="*/ 130709 h 989583"/>
              <a:gd name="connsiteX5" fmla="*/ 1280935 w 1282245"/>
              <a:gd name="connsiteY5" fmla="*/ 201794 h 989583"/>
              <a:gd name="connsiteX6" fmla="*/ 1278431 w 1282245"/>
              <a:gd name="connsiteY6" fmla="*/ 251883 h 989583"/>
              <a:gd name="connsiteX7" fmla="*/ 1258410 w 1282245"/>
              <a:gd name="connsiteY7" fmla="*/ 314660 h 989583"/>
              <a:gd name="connsiteX8" fmla="*/ 1254587 w 1282245"/>
              <a:gd name="connsiteY8" fmla="*/ 380780 h 989583"/>
              <a:gd name="connsiteX9" fmla="*/ 1237332 w 1282245"/>
              <a:gd name="connsiteY9" fmla="*/ 431449 h 989583"/>
              <a:gd name="connsiteX10" fmla="*/ 1227585 w 1282245"/>
              <a:gd name="connsiteY10" fmla="*/ 477305 h 989583"/>
              <a:gd name="connsiteX11" fmla="*/ 1197482 w 1282245"/>
              <a:gd name="connsiteY11" fmla="*/ 544628 h 989583"/>
              <a:gd name="connsiteX12" fmla="*/ 1149145 w 1282245"/>
              <a:gd name="connsiteY12" fmla="*/ 608447 h 989583"/>
              <a:gd name="connsiteX13" fmla="*/ 1130363 w 1282245"/>
              <a:gd name="connsiteY13" fmla="*/ 651720 h 989583"/>
              <a:gd name="connsiteX14" fmla="*/ 101191 w 1282245"/>
              <a:gd name="connsiteY14" fmla="*/ 989583 h 989583"/>
              <a:gd name="connsiteX15" fmla="*/ 0 w 1282245"/>
              <a:gd name="connsiteY15" fmla="*/ 964178 h 989583"/>
              <a:gd name="connsiteX16" fmla="*/ 53527 w 1282245"/>
              <a:gd name="connsiteY16" fmla="*/ 48660 h 989583"/>
              <a:gd name="connsiteX0" fmla="*/ 53527 w 1282245"/>
              <a:gd name="connsiteY0" fmla="*/ 48660 h 964178"/>
              <a:gd name="connsiteX1" fmla="*/ 77639 w 1282245"/>
              <a:gd name="connsiteY1" fmla="*/ 38332 h 964178"/>
              <a:gd name="connsiteX2" fmla="*/ 89463 w 1282245"/>
              <a:gd name="connsiteY2" fmla="*/ 23783 h 964178"/>
              <a:gd name="connsiteX3" fmla="*/ 135742 w 1282245"/>
              <a:gd name="connsiteY3" fmla="*/ 0 h 964178"/>
              <a:gd name="connsiteX4" fmla="*/ 1282245 w 1282245"/>
              <a:gd name="connsiteY4" fmla="*/ 130709 h 964178"/>
              <a:gd name="connsiteX5" fmla="*/ 1280935 w 1282245"/>
              <a:gd name="connsiteY5" fmla="*/ 201794 h 964178"/>
              <a:gd name="connsiteX6" fmla="*/ 1278431 w 1282245"/>
              <a:gd name="connsiteY6" fmla="*/ 251883 h 964178"/>
              <a:gd name="connsiteX7" fmla="*/ 1258410 w 1282245"/>
              <a:gd name="connsiteY7" fmla="*/ 314660 h 964178"/>
              <a:gd name="connsiteX8" fmla="*/ 1254587 w 1282245"/>
              <a:gd name="connsiteY8" fmla="*/ 380780 h 964178"/>
              <a:gd name="connsiteX9" fmla="*/ 1237332 w 1282245"/>
              <a:gd name="connsiteY9" fmla="*/ 431449 h 964178"/>
              <a:gd name="connsiteX10" fmla="*/ 1227585 w 1282245"/>
              <a:gd name="connsiteY10" fmla="*/ 477305 h 964178"/>
              <a:gd name="connsiteX11" fmla="*/ 1197482 w 1282245"/>
              <a:gd name="connsiteY11" fmla="*/ 544628 h 964178"/>
              <a:gd name="connsiteX12" fmla="*/ 1149145 w 1282245"/>
              <a:gd name="connsiteY12" fmla="*/ 608447 h 964178"/>
              <a:gd name="connsiteX13" fmla="*/ 1130363 w 1282245"/>
              <a:gd name="connsiteY13" fmla="*/ 651720 h 964178"/>
              <a:gd name="connsiteX14" fmla="*/ 0 w 1282245"/>
              <a:gd name="connsiteY14" fmla="*/ 964178 h 964178"/>
              <a:gd name="connsiteX15" fmla="*/ 53527 w 1282245"/>
              <a:gd name="connsiteY15" fmla="*/ 48660 h 964178"/>
              <a:gd name="connsiteX0" fmla="*/ 0 w 1228718"/>
              <a:gd name="connsiteY0" fmla="*/ 48660 h 742472"/>
              <a:gd name="connsiteX1" fmla="*/ 24112 w 1228718"/>
              <a:gd name="connsiteY1" fmla="*/ 38332 h 742472"/>
              <a:gd name="connsiteX2" fmla="*/ 35936 w 1228718"/>
              <a:gd name="connsiteY2" fmla="*/ 23783 h 742472"/>
              <a:gd name="connsiteX3" fmla="*/ 82215 w 1228718"/>
              <a:gd name="connsiteY3" fmla="*/ 0 h 742472"/>
              <a:gd name="connsiteX4" fmla="*/ 1228718 w 1228718"/>
              <a:gd name="connsiteY4" fmla="*/ 130709 h 742472"/>
              <a:gd name="connsiteX5" fmla="*/ 1227408 w 1228718"/>
              <a:gd name="connsiteY5" fmla="*/ 201794 h 742472"/>
              <a:gd name="connsiteX6" fmla="*/ 1224904 w 1228718"/>
              <a:gd name="connsiteY6" fmla="*/ 251883 h 742472"/>
              <a:gd name="connsiteX7" fmla="*/ 1204883 w 1228718"/>
              <a:gd name="connsiteY7" fmla="*/ 314660 h 742472"/>
              <a:gd name="connsiteX8" fmla="*/ 1201060 w 1228718"/>
              <a:gd name="connsiteY8" fmla="*/ 380780 h 742472"/>
              <a:gd name="connsiteX9" fmla="*/ 1183805 w 1228718"/>
              <a:gd name="connsiteY9" fmla="*/ 431449 h 742472"/>
              <a:gd name="connsiteX10" fmla="*/ 1174058 w 1228718"/>
              <a:gd name="connsiteY10" fmla="*/ 477305 h 742472"/>
              <a:gd name="connsiteX11" fmla="*/ 1143955 w 1228718"/>
              <a:gd name="connsiteY11" fmla="*/ 544628 h 742472"/>
              <a:gd name="connsiteX12" fmla="*/ 1095618 w 1228718"/>
              <a:gd name="connsiteY12" fmla="*/ 608447 h 742472"/>
              <a:gd name="connsiteX13" fmla="*/ 1076836 w 1228718"/>
              <a:gd name="connsiteY13" fmla="*/ 651720 h 742472"/>
              <a:gd name="connsiteX14" fmla="*/ 979667 w 1228718"/>
              <a:gd name="connsiteY14" fmla="*/ 742472 h 742472"/>
              <a:gd name="connsiteX15" fmla="*/ 0 w 1228718"/>
              <a:gd name="connsiteY15" fmla="*/ 48660 h 742472"/>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76836 w 1228718"/>
              <a:gd name="connsiteY13" fmla="*/ 651720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29826 w 1228718"/>
              <a:gd name="connsiteY13" fmla="*/ 696018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6526 w 1228718"/>
              <a:gd name="connsiteY6" fmla="*/ 243269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9466"/>
              <a:gd name="connsiteY0" fmla="*/ 48660 h 746164"/>
              <a:gd name="connsiteX1" fmla="*/ 24112 w 1229466"/>
              <a:gd name="connsiteY1" fmla="*/ 38332 h 746164"/>
              <a:gd name="connsiteX2" fmla="*/ 35936 w 1229466"/>
              <a:gd name="connsiteY2" fmla="*/ 23783 h 746164"/>
              <a:gd name="connsiteX3" fmla="*/ 82215 w 1229466"/>
              <a:gd name="connsiteY3" fmla="*/ 0 h 746164"/>
              <a:gd name="connsiteX4" fmla="*/ 1228718 w 1229466"/>
              <a:gd name="connsiteY4" fmla="*/ 130709 h 746164"/>
              <a:gd name="connsiteX5" fmla="*/ 1229029 w 1229466"/>
              <a:gd name="connsiteY5" fmla="*/ 180875 h 746164"/>
              <a:gd name="connsiteX6" fmla="*/ 1226526 w 1229466"/>
              <a:gd name="connsiteY6" fmla="*/ 243269 h 746164"/>
              <a:gd name="connsiteX7" fmla="*/ 1216230 w 1229466"/>
              <a:gd name="connsiteY7" fmla="*/ 307277 h 746164"/>
              <a:gd name="connsiteX8" fmla="*/ 1201060 w 1229466"/>
              <a:gd name="connsiteY8" fmla="*/ 373397 h 746164"/>
              <a:gd name="connsiteX9" fmla="*/ 1183805 w 1229466"/>
              <a:gd name="connsiteY9" fmla="*/ 431449 h 746164"/>
              <a:gd name="connsiteX10" fmla="*/ 1157848 w 1229466"/>
              <a:gd name="connsiteY10" fmla="*/ 485919 h 746164"/>
              <a:gd name="connsiteX11" fmla="*/ 1132608 w 1229466"/>
              <a:gd name="connsiteY11" fmla="*/ 545858 h 746164"/>
              <a:gd name="connsiteX12" fmla="*/ 1084271 w 1229466"/>
              <a:gd name="connsiteY12" fmla="*/ 629366 h 746164"/>
              <a:gd name="connsiteX13" fmla="*/ 1041173 w 1229466"/>
              <a:gd name="connsiteY13" fmla="*/ 681252 h 746164"/>
              <a:gd name="connsiteX14" fmla="*/ 989393 w 1229466"/>
              <a:gd name="connsiteY14" fmla="*/ 746164 h 746164"/>
              <a:gd name="connsiteX15" fmla="*/ 0 w 1229466"/>
              <a:gd name="connsiteY15" fmla="*/ 48660 h 746164"/>
              <a:gd name="connsiteX0" fmla="*/ 0 w 1229466"/>
              <a:gd name="connsiteY0" fmla="*/ 37585 h 735089"/>
              <a:gd name="connsiteX1" fmla="*/ 24112 w 1229466"/>
              <a:gd name="connsiteY1" fmla="*/ 27257 h 735089"/>
              <a:gd name="connsiteX2" fmla="*/ 35936 w 1229466"/>
              <a:gd name="connsiteY2" fmla="*/ 12708 h 735089"/>
              <a:gd name="connsiteX3" fmla="*/ 56278 w 1229466"/>
              <a:gd name="connsiteY3" fmla="*/ 0 h 735089"/>
              <a:gd name="connsiteX4" fmla="*/ 1228718 w 1229466"/>
              <a:gd name="connsiteY4" fmla="*/ 119634 h 735089"/>
              <a:gd name="connsiteX5" fmla="*/ 1229029 w 1229466"/>
              <a:gd name="connsiteY5" fmla="*/ 169800 h 735089"/>
              <a:gd name="connsiteX6" fmla="*/ 1226526 w 1229466"/>
              <a:gd name="connsiteY6" fmla="*/ 232194 h 735089"/>
              <a:gd name="connsiteX7" fmla="*/ 1216230 w 1229466"/>
              <a:gd name="connsiteY7" fmla="*/ 296202 h 735089"/>
              <a:gd name="connsiteX8" fmla="*/ 1201060 w 1229466"/>
              <a:gd name="connsiteY8" fmla="*/ 362322 h 735089"/>
              <a:gd name="connsiteX9" fmla="*/ 1183805 w 1229466"/>
              <a:gd name="connsiteY9" fmla="*/ 420374 h 735089"/>
              <a:gd name="connsiteX10" fmla="*/ 1157848 w 1229466"/>
              <a:gd name="connsiteY10" fmla="*/ 474844 h 735089"/>
              <a:gd name="connsiteX11" fmla="*/ 1132608 w 1229466"/>
              <a:gd name="connsiteY11" fmla="*/ 534783 h 735089"/>
              <a:gd name="connsiteX12" fmla="*/ 1084271 w 1229466"/>
              <a:gd name="connsiteY12" fmla="*/ 618291 h 735089"/>
              <a:gd name="connsiteX13" fmla="*/ 1041173 w 1229466"/>
              <a:gd name="connsiteY13" fmla="*/ 670177 h 735089"/>
              <a:gd name="connsiteX14" fmla="*/ 989393 w 1229466"/>
              <a:gd name="connsiteY14" fmla="*/ 735089 h 735089"/>
              <a:gd name="connsiteX15" fmla="*/ 0 w 1229466"/>
              <a:gd name="connsiteY15" fmla="*/ 37585 h 735089"/>
              <a:gd name="connsiteX0" fmla="*/ 0 w 1235950"/>
              <a:gd name="connsiteY0" fmla="*/ 35124 h 735089"/>
              <a:gd name="connsiteX1" fmla="*/ 30596 w 1235950"/>
              <a:gd name="connsiteY1" fmla="*/ 27257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49794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950" h="735089">
                <a:moveTo>
                  <a:pt x="0" y="35124"/>
                </a:moveTo>
                <a:lnTo>
                  <a:pt x="17628" y="22335"/>
                </a:lnTo>
                <a:lnTo>
                  <a:pt x="39178" y="7786"/>
                </a:lnTo>
                <a:lnTo>
                  <a:pt x="49794" y="0"/>
                </a:lnTo>
                <a:lnTo>
                  <a:pt x="1235202" y="119634"/>
                </a:lnTo>
                <a:cubicBezTo>
                  <a:pt x="1234765" y="143329"/>
                  <a:pt x="1235950" y="146105"/>
                  <a:pt x="1235513" y="169800"/>
                </a:cubicBezTo>
                <a:lnTo>
                  <a:pt x="1233010" y="232194"/>
                </a:lnTo>
                <a:lnTo>
                  <a:pt x="1222714" y="296202"/>
                </a:lnTo>
                <a:lnTo>
                  <a:pt x="1207544" y="362322"/>
                </a:lnTo>
                <a:lnTo>
                  <a:pt x="1190289" y="420374"/>
                </a:lnTo>
                <a:lnTo>
                  <a:pt x="1164332" y="474844"/>
                </a:lnTo>
                <a:lnTo>
                  <a:pt x="1139092" y="534783"/>
                </a:lnTo>
                <a:lnTo>
                  <a:pt x="1090755" y="618291"/>
                </a:lnTo>
                <a:lnTo>
                  <a:pt x="1047657" y="670177"/>
                </a:lnTo>
                <a:lnTo>
                  <a:pt x="995877" y="735089"/>
                </a:lnTo>
                <a:lnTo>
                  <a:pt x="0" y="35124"/>
                </a:lnTo>
                <a:close/>
              </a:path>
            </a:pathLst>
          </a:custGeom>
          <a:solidFill>
            <a:srgbClr val="8CB7C7">
              <a:alpha val="50000"/>
            </a:srgb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04" name="Rounded Rectangle 1003"/>
          <p:cNvSpPr/>
          <p:nvPr>
            <p:custDataLst>
              <p:tags r:id="rId9"/>
            </p:custDataLst>
          </p:nvPr>
        </p:nvSpPr>
        <p:spPr>
          <a:xfrm>
            <a:off x="8077611" y="2648545"/>
            <a:ext cx="1041400" cy="774700"/>
          </a:xfrm>
          <a:prstGeom prst="roundRect">
            <a:avLst/>
          </a:prstGeom>
          <a:solidFill>
            <a:schemeClr val="tx1"/>
          </a:solidFill>
          <a:ln w="9525">
            <a:solidFill>
              <a:srgbClr val="8CB7C7"/>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lnSpc>
                <a:spcPts val="1000"/>
              </a:lnSpc>
              <a:spcAft>
                <a:spcPct val="0"/>
              </a:spcAft>
            </a:pPr>
            <a:r>
              <a:rPr lang="en-US" sz="1000" b="1" dirty="0">
                <a:solidFill>
                  <a:srgbClr val="FFFFFF"/>
                </a:solidFill>
              </a:rPr>
              <a:t>Human resources for health</a:t>
            </a:r>
          </a:p>
        </p:txBody>
      </p:sp>
      <p:sp>
        <p:nvSpPr>
          <p:cNvPr id="1005" name="Freeform 1004"/>
          <p:cNvSpPr/>
          <p:nvPr>
            <p:custDataLst>
              <p:tags r:id="rId10"/>
            </p:custDataLst>
          </p:nvPr>
        </p:nvSpPr>
        <p:spPr bwMode="gray">
          <a:xfrm>
            <a:off x="3251296" y="2111810"/>
            <a:ext cx="2796412" cy="3398163"/>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 name="connsiteX0" fmla="*/ 414962 w 1768257"/>
              <a:gd name="connsiteY0" fmla="*/ 19334 h 1169414"/>
              <a:gd name="connsiteX1" fmla="*/ 490187 w 1768257"/>
              <a:gd name="connsiteY1" fmla="*/ 25634 h 1169414"/>
              <a:gd name="connsiteX2" fmla="*/ 581971 w 1768257"/>
              <a:gd name="connsiteY2" fmla="*/ 19397 h 1169414"/>
              <a:gd name="connsiteX3" fmla="*/ 648044 w 1768257"/>
              <a:gd name="connsiteY3" fmla="*/ 0 h 1169414"/>
              <a:gd name="connsiteX4" fmla="*/ 1768257 w 1768257"/>
              <a:gd name="connsiteY4" fmla="*/ 196963 h 1169414"/>
              <a:gd name="connsiteX5" fmla="*/ 1702094 w 1768257"/>
              <a:gd name="connsiteY5" fmla="*/ 675048 h 1169414"/>
              <a:gd name="connsiteX6" fmla="*/ 1627767 w 1768257"/>
              <a:gd name="connsiteY6" fmla="*/ 754447 h 1169414"/>
              <a:gd name="connsiteX7" fmla="*/ 1526690 w 1768257"/>
              <a:gd name="connsiteY7" fmla="*/ 846106 h 1169414"/>
              <a:gd name="connsiteX8" fmla="*/ 1422699 w 1768257"/>
              <a:gd name="connsiteY8" fmla="*/ 914426 h 1169414"/>
              <a:gd name="connsiteX9" fmla="*/ 1280144 w 1768257"/>
              <a:gd name="connsiteY9" fmla="*/ 988860 h 1169414"/>
              <a:gd name="connsiteX10" fmla="*/ 1127806 w 1768257"/>
              <a:gd name="connsiteY10" fmla="*/ 1061699 h 1169414"/>
              <a:gd name="connsiteX11" fmla="*/ 990279 w 1768257"/>
              <a:gd name="connsiteY11" fmla="*/ 1104784 h 1169414"/>
              <a:gd name="connsiteX12" fmla="*/ 810491 w 1768257"/>
              <a:gd name="connsiteY12" fmla="*/ 1147165 h 1169414"/>
              <a:gd name="connsiteX13" fmla="*/ 586912 w 1768257"/>
              <a:gd name="connsiteY13" fmla="*/ 1169414 h 1169414"/>
              <a:gd name="connsiteX14" fmla="*/ 392889 w 1768257"/>
              <a:gd name="connsiteY14" fmla="*/ 1168346 h 1169414"/>
              <a:gd name="connsiteX15" fmla="*/ 238097 w 1768257"/>
              <a:gd name="connsiteY15" fmla="*/ 1157022 h 1169414"/>
              <a:gd name="connsiteX16" fmla="*/ 101191 w 1768257"/>
              <a:gd name="connsiteY16" fmla="*/ 1134851 h 1169414"/>
              <a:gd name="connsiteX17" fmla="*/ 0 w 1768257"/>
              <a:gd name="connsiteY17" fmla="*/ 1109446 h 1169414"/>
              <a:gd name="connsiteX18" fmla="*/ 414962 w 1768257"/>
              <a:gd name="connsiteY18" fmla="*/ 19334 h 1169414"/>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526690 w 1768257"/>
              <a:gd name="connsiteY7" fmla="*/ 846106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153316 w 1768257"/>
              <a:gd name="connsiteY8" fmla="*/ 1176020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280144 w 1768257"/>
              <a:gd name="connsiteY9" fmla="*/ 988860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085994 w 1768257"/>
              <a:gd name="connsiteY9" fmla="*/ 1167555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0 h 1249090"/>
              <a:gd name="connsiteX1" fmla="*/ 490187 w 1768257"/>
              <a:gd name="connsiteY1" fmla="*/ 6300 h 1249090"/>
              <a:gd name="connsiteX2" fmla="*/ 581971 w 1768257"/>
              <a:gd name="connsiteY2" fmla="*/ 63 h 1249090"/>
              <a:gd name="connsiteX3" fmla="*/ 1609086 w 1768257"/>
              <a:gd name="connsiteY3" fmla="*/ 118832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581971 w 1768257"/>
              <a:gd name="connsiteY2" fmla="*/ 63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1616256 w 1768257"/>
              <a:gd name="connsiteY1" fmla="*/ 118675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1555592 w 1768257"/>
              <a:gd name="connsiteY0" fmla="*/ 0 h 1168033"/>
              <a:gd name="connsiteX1" fmla="*/ 1616256 w 1768257"/>
              <a:gd name="connsiteY1" fmla="*/ 37618 h 1168033"/>
              <a:gd name="connsiteX2" fmla="*/ 1635234 w 1768257"/>
              <a:gd name="connsiteY2" fmla="*/ 46119 h 1168033"/>
              <a:gd name="connsiteX3" fmla="*/ 1696453 w 1768257"/>
              <a:gd name="connsiteY3" fmla="*/ 80146 h 1168033"/>
              <a:gd name="connsiteX4" fmla="*/ 1768257 w 1768257"/>
              <a:gd name="connsiteY4" fmla="*/ 96572 h 1168033"/>
              <a:gd name="connsiteX5" fmla="*/ 1357478 w 1768257"/>
              <a:gd name="connsiteY5" fmla="*/ 1143901 h 1168033"/>
              <a:gd name="connsiteX6" fmla="*/ 1283151 w 1768257"/>
              <a:gd name="connsiteY6" fmla="*/ 1168033 h 1168033"/>
              <a:gd name="connsiteX7" fmla="*/ 1257307 w 1768257"/>
              <a:gd name="connsiteY7" fmla="*/ 1138107 h 1168033"/>
              <a:gd name="connsiteX8" fmla="*/ 1153316 w 1768257"/>
              <a:gd name="connsiteY8" fmla="*/ 1075629 h 1168033"/>
              <a:gd name="connsiteX9" fmla="*/ 1085994 w 1768257"/>
              <a:gd name="connsiteY9" fmla="*/ 1067164 h 1168033"/>
              <a:gd name="connsiteX10" fmla="*/ 1127806 w 1768257"/>
              <a:gd name="connsiteY10" fmla="*/ 961308 h 1168033"/>
              <a:gd name="connsiteX11" fmla="*/ 990279 w 1768257"/>
              <a:gd name="connsiteY11" fmla="*/ 1004393 h 1168033"/>
              <a:gd name="connsiteX12" fmla="*/ 810491 w 1768257"/>
              <a:gd name="connsiteY12" fmla="*/ 1046774 h 1168033"/>
              <a:gd name="connsiteX13" fmla="*/ 586912 w 1768257"/>
              <a:gd name="connsiteY13" fmla="*/ 1069023 h 1168033"/>
              <a:gd name="connsiteX14" fmla="*/ 392889 w 1768257"/>
              <a:gd name="connsiteY14" fmla="*/ 1067955 h 1168033"/>
              <a:gd name="connsiteX15" fmla="*/ 238097 w 1768257"/>
              <a:gd name="connsiteY15" fmla="*/ 1056631 h 1168033"/>
              <a:gd name="connsiteX16" fmla="*/ 101191 w 1768257"/>
              <a:gd name="connsiteY16" fmla="*/ 1034460 h 1168033"/>
              <a:gd name="connsiteX17" fmla="*/ 0 w 1768257"/>
              <a:gd name="connsiteY17" fmla="*/ 1009055 h 1168033"/>
              <a:gd name="connsiteX18" fmla="*/ 1555592 w 1768257"/>
              <a:gd name="connsiteY18" fmla="*/ 0 h 1168033"/>
              <a:gd name="connsiteX0" fmla="*/ 1454401 w 1667066"/>
              <a:gd name="connsiteY0" fmla="*/ 0 h 1168033"/>
              <a:gd name="connsiteX1" fmla="*/ 1515065 w 1667066"/>
              <a:gd name="connsiteY1" fmla="*/ 37618 h 1168033"/>
              <a:gd name="connsiteX2" fmla="*/ 1534043 w 1667066"/>
              <a:gd name="connsiteY2" fmla="*/ 46119 h 1168033"/>
              <a:gd name="connsiteX3" fmla="*/ 1595262 w 1667066"/>
              <a:gd name="connsiteY3" fmla="*/ 80146 h 1168033"/>
              <a:gd name="connsiteX4" fmla="*/ 1667066 w 1667066"/>
              <a:gd name="connsiteY4" fmla="*/ 96572 h 1168033"/>
              <a:gd name="connsiteX5" fmla="*/ 1256287 w 1667066"/>
              <a:gd name="connsiteY5" fmla="*/ 1143901 h 1168033"/>
              <a:gd name="connsiteX6" fmla="*/ 1181960 w 1667066"/>
              <a:gd name="connsiteY6" fmla="*/ 1168033 h 1168033"/>
              <a:gd name="connsiteX7" fmla="*/ 1156116 w 1667066"/>
              <a:gd name="connsiteY7" fmla="*/ 1138107 h 1168033"/>
              <a:gd name="connsiteX8" fmla="*/ 1052125 w 1667066"/>
              <a:gd name="connsiteY8" fmla="*/ 1075629 h 1168033"/>
              <a:gd name="connsiteX9" fmla="*/ 984803 w 1667066"/>
              <a:gd name="connsiteY9" fmla="*/ 1067164 h 1168033"/>
              <a:gd name="connsiteX10" fmla="*/ 1026615 w 1667066"/>
              <a:gd name="connsiteY10" fmla="*/ 961308 h 1168033"/>
              <a:gd name="connsiteX11" fmla="*/ 889088 w 1667066"/>
              <a:gd name="connsiteY11" fmla="*/ 1004393 h 1168033"/>
              <a:gd name="connsiteX12" fmla="*/ 709300 w 1667066"/>
              <a:gd name="connsiteY12" fmla="*/ 1046774 h 1168033"/>
              <a:gd name="connsiteX13" fmla="*/ 485721 w 1667066"/>
              <a:gd name="connsiteY13" fmla="*/ 1069023 h 1168033"/>
              <a:gd name="connsiteX14" fmla="*/ 291698 w 1667066"/>
              <a:gd name="connsiteY14" fmla="*/ 1067955 h 1168033"/>
              <a:gd name="connsiteX15" fmla="*/ 136906 w 1667066"/>
              <a:gd name="connsiteY15" fmla="*/ 1056631 h 1168033"/>
              <a:gd name="connsiteX16" fmla="*/ 0 w 1667066"/>
              <a:gd name="connsiteY16" fmla="*/ 1034460 h 1168033"/>
              <a:gd name="connsiteX17" fmla="*/ 403599 w 1667066"/>
              <a:gd name="connsiteY17" fmla="*/ 603768 h 1168033"/>
              <a:gd name="connsiteX18" fmla="*/ 1454401 w 1667066"/>
              <a:gd name="connsiteY18" fmla="*/ 0 h 1168033"/>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56116 w 1667066"/>
              <a:gd name="connsiteY7" fmla="*/ 1138107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544447 w 1667066"/>
              <a:gd name="connsiteY15" fmla="*/ 799177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40848 w 1263467"/>
              <a:gd name="connsiteY15" fmla="*/ 799177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0 w 1263467"/>
              <a:gd name="connsiteY18" fmla="*/ 603768 h 1183350"/>
              <a:gd name="connsiteX19" fmla="*/ 1050802 w 1263467"/>
              <a:gd name="connsiteY19"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26093 w 1263467"/>
              <a:gd name="connsiteY18" fmla="*/ 647770 h 1183350"/>
              <a:gd name="connsiteX19" fmla="*/ 0 w 1263467"/>
              <a:gd name="connsiteY19" fmla="*/ 603768 h 1183350"/>
              <a:gd name="connsiteX20" fmla="*/ 1050802 w 1263467"/>
              <a:gd name="connsiteY20"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94472 w 1263467"/>
              <a:gd name="connsiteY17" fmla="*/ 741201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9682 w 1263467"/>
              <a:gd name="connsiteY19" fmla="*/ 646732 h 1183350"/>
              <a:gd name="connsiteX20" fmla="*/ 0 w 1263467"/>
              <a:gd name="connsiteY20" fmla="*/ 603768 h 1183350"/>
              <a:gd name="connsiteX21" fmla="*/ 1050802 w 1263467"/>
              <a:gd name="connsiteY21" fmla="*/ 0 h 1183350"/>
              <a:gd name="connsiteX0" fmla="*/ 1060375 w 1273040"/>
              <a:gd name="connsiteY0" fmla="*/ 0 h 1183350"/>
              <a:gd name="connsiteX1" fmla="*/ 1121039 w 1273040"/>
              <a:gd name="connsiteY1" fmla="*/ 37618 h 1183350"/>
              <a:gd name="connsiteX2" fmla="*/ 1140017 w 1273040"/>
              <a:gd name="connsiteY2" fmla="*/ 46119 h 1183350"/>
              <a:gd name="connsiteX3" fmla="*/ 1201236 w 1273040"/>
              <a:gd name="connsiteY3" fmla="*/ 80146 h 1183350"/>
              <a:gd name="connsiteX4" fmla="*/ 1273040 w 1273040"/>
              <a:gd name="connsiteY4" fmla="*/ 96572 h 1183350"/>
              <a:gd name="connsiteX5" fmla="*/ 862261 w 1273040"/>
              <a:gd name="connsiteY5" fmla="*/ 1183350 h 1183350"/>
              <a:gd name="connsiteX6" fmla="*/ 787934 w 1273040"/>
              <a:gd name="connsiteY6" fmla="*/ 1168033 h 1183350"/>
              <a:gd name="connsiteX7" fmla="*/ 733371 w 1273040"/>
              <a:gd name="connsiteY7" fmla="*/ 1148488 h 1183350"/>
              <a:gd name="connsiteX8" fmla="*/ 645791 w 1273040"/>
              <a:gd name="connsiteY8" fmla="*/ 1116115 h 1183350"/>
              <a:gd name="connsiteX9" fmla="*/ 577101 w 1273040"/>
              <a:gd name="connsiteY9" fmla="*/ 1083774 h 1183350"/>
              <a:gd name="connsiteX10" fmla="*/ 523182 w 1273040"/>
              <a:gd name="connsiteY10" fmla="*/ 1063044 h 1183350"/>
              <a:gd name="connsiteX11" fmla="*/ 458137 w 1273040"/>
              <a:gd name="connsiteY11" fmla="*/ 1029308 h 1183350"/>
              <a:gd name="connsiteX12" fmla="*/ 394594 w 1273040"/>
              <a:gd name="connsiteY12" fmla="*/ 991754 h 1183350"/>
              <a:gd name="connsiteX13" fmla="*/ 340595 w 1273040"/>
              <a:gd name="connsiteY13" fmla="*/ 954830 h 1183350"/>
              <a:gd name="connsiteX14" fmla="*/ 280597 w 1273040"/>
              <a:gd name="connsiteY14" fmla="*/ 910161 h 1183350"/>
              <a:gd name="connsiteX15" fmla="*/ 191449 w 1273040"/>
              <a:gd name="connsiteY15" fmla="*/ 839664 h 1183350"/>
              <a:gd name="connsiteX16" fmla="*/ 135230 w 1273040"/>
              <a:gd name="connsiteY16" fmla="*/ 788425 h 1183350"/>
              <a:gd name="connsiteX17" fmla="*/ 93104 w 1273040"/>
              <a:gd name="connsiteY17" fmla="*/ 742239 h 1183350"/>
              <a:gd name="connsiteX18" fmla="*/ 57548 w 1273040"/>
              <a:gd name="connsiteY18" fmla="*/ 697600 h 1183350"/>
              <a:gd name="connsiteX19" fmla="*/ 19255 w 1273040"/>
              <a:gd name="connsiteY19" fmla="*/ 646732 h 1183350"/>
              <a:gd name="connsiteX20" fmla="*/ 0 w 1273040"/>
              <a:gd name="connsiteY20" fmla="*/ 612073 h 1183350"/>
              <a:gd name="connsiteX21" fmla="*/ 1060375 w 1273040"/>
              <a:gd name="connsiteY21" fmla="*/ 0 h 1183350"/>
              <a:gd name="connsiteX0" fmla="*/ 1065845 w 1278510"/>
              <a:gd name="connsiteY0" fmla="*/ 0 h 1183350"/>
              <a:gd name="connsiteX1" fmla="*/ 1126509 w 1278510"/>
              <a:gd name="connsiteY1" fmla="*/ 37618 h 1183350"/>
              <a:gd name="connsiteX2" fmla="*/ 1145487 w 1278510"/>
              <a:gd name="connsiteY2" fmla="*/ 46119 h 1183350"/>
              <a:gd name="connsiteX3" fmla="*/ 1206706 w 1278510"/>
              <a:gd name="connsiteY3" fmla="*/ 80146 h 1183350"/>
              <a:gd name="connsiteX4" fmla="*/ 1278510 w 1278510"/>
              <a:gd name="connsiteY4" fmla="*/ 96572 h 1183350"/>
              <a:gd name="connsiteX5" fmla="*/ 867731 w 1278510"/>
              <a:gd name="connsiteY5" fmla="*/ 1183350 h 1183350"/>
              <a:gd name="connsiteX6" fmla="*/ 793404 w 1278510"/>
              <a:gd name="connsiteY6" fmla="*/ 1168033 h 1183350"/>
              <a:gd name="connsiteX7" fmla="*/ 738841 w 1278510"/>
              <a:gd name="connsiteY7" fmla="*/ 1148488 h 1183350"/>
              <a:gd name="connsiteX8" fmla="*/ 651261 w 1278510"/>
              <a:gd name="connsiteY8" fmla="*/ 1116115 h 1183350"/>
              <a:gd name="connsiteX9" fmla="*/ 582571 w 1278510"/>
              <a:gd name="connsiteY9" fmla="*/ 1083774 h 1183350"/>
              <a:gd name="connsiteX10" fmla="*/ 528652 w 1278510"/>
              <a:gd name="connsiteY10" fmla="*/ 1063044 h 1183350"/>
              <a:gd name="connsiteX11" fmla="*/ 463607 w 1278510"/>
              <a:gd name="connsiteY11" fmla="*/ 1029308 h 1183350"/>
              <a:gd name="connsiteX12" fmla="*/ 400064 w 1278510"/>
              <a:gd name="connsiteY12" fmla="*/ 991754 h 1183350"/>
              <a:gd name="connsiteX13" fmla="*/ 346065 w 1278510"/>
              <a:gd name="connsiteY13" fmla="*/ 954830 h 1183350"/>
              <a:gd name="connsiteX14" fmla="*/ 286067 w 1278510"/>
              <a:gd name="connsiteY14" fmla="*/ 910161 h 1183350"/>
              <a:gd name="connsiteX15" fmla="*/ 196919 w 1278510"/>
              <a:gd name="connsiteY15" fmla="*/ 839664 h 1183350"/>
              <a:gd name="connsiteX16" fmla="*/ 140700 w 1278510"/>
              <a:gd name="connsiteY16" fmla="*/ 788425 h 1183350"/>
              <a:gd name="connsiteX17" fmla="*/ 98574 w 1278510"/>
              <a:gd name="connsiteY17" fmla="*/ 742239 h 1183350"/>
              <a:gd name="connsiteX18" fmla="*/ 63018 w 1278510"/>
              <a:gd name="connsiteY18" fmla="*/ 697600 h 1183350"/>
              <a:gd name="connsiteX19" fmla="*/ 24725 w 1278510"/>
              <a:gd name="connsiteY19" fmla="*/ 646732 h 1183350"/>
              <a:gd name="connsiteX20" fmla="*/ 0 w 1278510"/>
              <a:gd name="connsiteY20" fmla="*/ 607921 h 1183350"/>
              <a:gd name="connsiteX21" fmla="*/ 1065845 w 127851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06706 w 1283980"/>
              <a:gd name="connsiteY3" fmla="*/ 80146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11465 w 1283980"/>
              <a:gd name="connsiteY1" fmla="*/ 27237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71315 w 1283980"/>
              <a:gd name="connsiteY0" fmla="*/ 0 h 1184388"/>
              <a:gd name="connsiteX1" fmla="*/ 1111465 w 1283980"/>
              <a:gd name="connsiteY1" fmla="*/ 28275 h 1184388"/>
              <a:gd name="connsiteX2" fmla="*/ 1161898 w 1283980"/>
              <a:gd name="connsiteY2" fmla="*/ 52348 h 1184388"/>
              <a:gd name="connsiteX3" fmla="*/ 1214912 w 1283980"/>
              <a:gd name="connsiteY3" fmla="*/ 75993 h 1184388"/>
              <a:gd name="connsiteX4" fmla="*/ 1283980 w 1283980"/>
              <a:gd name="connsiteY4" fmla="*/ 92419 h 1184388"/>
              <a:gd name="connsiteX5" fmla="*/ 867731 w 1283980"/>
              <a:gd name="connsiteY5" fmla="*/ 1184388 h 1184388"/>
              <a:gd name="connsiteX6" fmla="*/ 793404 w 1283980"/>
              <a:gd name="connsiteY6" fmla="*/ 1169071 h 1184388"/>
              <a:gd name="connsiteX7" fmla="*/ 738841 w 1283980"/>
              <a:gd name="connsiteY7" fmla="*/ 1149526 h 1184388"/>
              <a:gd name="connsiteX8" fmla="*/ 651261 w 1283980"/>
              <a:gd name="connsiteY8" fmla="*/ 1117153 h 1184388"/>
              <a:gd name="connsiteX9" fmla="*/ 582571 w 1283980"/>
              <a:gd name="connsiteY9" fmla="*/ 1084812 h 1184388"/>
              <a:gd name="connsiteX10" fmla="*/ 528652 w 1283980"/>
              <a:gd name="connsiteY10" fmla="*/ 1064082 h 1184388"/>
              <a:gd name="connsiteX11" fmla="*/ 463607 w 1283980"/>
              <a:gd name="connsiteY11" fmla="*/ 1030346 h 1184388"/>
              <a:gd name="connsiteX12" fmla="*/ 400064 w 1283980"/>
              <a:gd name="connsiteY12" fmla="*/ 992792 h 1184388"/>
              <a:gd name="connsiteX13" fmla="*/ 346065 w 1283980"/>
              <a:gd name="connsiteY13" fmla="*/ 955868 h 1184388"/>
              <a:gd name="connsiteX14" fmla="*/ 286067 w 1283980"/>
              <a:gd name="connsiteY14" fmla="*/ 911199 h 1184388"/>
              <a:gd name="connsiteX15" fmla="*/ 196919 w 1283980"/>
              <a:gd name="connsiteY15" fmla="*/ 840702 h 1184388"/>
              <a:gd name="connsiteX16" fmla="*/ 140700 w 1283980"/>
              <a:gd name="connsiteY16" fmla="*/ 789463 h 1184388"/>
              <a:gd name="connsiteX17" fmla="*/ 98574 w 1283980"/>
              <a:gd name="connsiteY17" fmla="*/ 743277 h 1184388"/>
              <a:gd name="connsiteX18" fmla="*/ 63018 w 1283980"/>
              <a:gd name="connsiteY18" fmla="*/ 698638 h 1184388"/>
              <a:gd name="connsiteX19" fmla="*/ 24725 w 1283980"/>
              <a:gd name="connsiteY19" fmla="*/ 647770 h 1184388"/>
              <a:gd name="connsiteX20" fmla="*/ 0 w 1283980"/>
              <a:gd name="connsiteY20" fmla="*/ 608959 h 1184388"/>
              <a:gd name="connsiteX21" fmla="*/ 1071315 w 1283980"/>
              <a:gd name="connsiteY21" fmla="*/ 0 h 118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83980" h="1184388">
                <a:moveTo>
                  <a:pt x="1071315" y="0"/>
                </a:moveTo>
                <a:lnTo>
                  <a:pt x="1111465" y="28275"/>
                </a:lnTo>
                <a:lnTo>
                  <a:pt x="1161898" y="52348"/>
                </a:lnTo>
                <a:lnTo>
                  <a:pt x="1214912" y="75993"/>
                </a:lnTo>
                <a:lnTo>
                  <a:pt x="1283980" y="92419"/>
                </a:lnTo>
                <a:lnTo>
                  <a:pt x="867731" y="1184388"/>
                </a:lnTo>
                <a:lnTo>
                  <a:pt x="793404" y="1169071"/>
                </a:lnTo>
                <a:lnTo>
                  <a:pt x="738841" y="1149526"/>
                </a:lnTo>
                <a:lnTo>
                  <a:pt x="651261" y="1117153"/>
                </a:lnTo>
                <a:lnTo>
                  <a:pt x="582571" y="1084812"/>
                </a:lnTo>
                <a:lnTo>
                  <a:pt x="528652" y="1064082"/>
                </a:lnTo>
                <a:lnTo>
                  <a:pt x="463607" y="1030346"/>
                </a:lnTo>
                <a:lnTo>
                  <a:pt x="400064" y="992792"/>
                </a:lnTo>
                <a:lnTo>
                  <a:pt x="346065" y="955868"/>
                </a:lnTo>
                <a:lnTo>
                  <a:pt x="286067" y="911199"/>
                </a:lnTo>
                <a:lnTo>
                  <a:pt x="196919" y="840702"/>
                </a:lnTo>
                <a:lnTo>
                  <a:pt x="140700" y="789463"/>
                </a:lnTo>
                <a:lnTo>
                  <a:pt x="98574" y="743277"/>
                </a:lnTo>
                <a:lnTo>
                  <a:pt x="63018" y="698638"/>
                </a:lnTo>
                <a:lnTo>
                  <a:pt x="24725" y="647770"/>
                </a:lnTo>
                <a:lnTo>
                  <a:pt x="0" y="608959"/>
                </a:lnTo>
                <a:lnTo>
                  <a:pt x="1071315" y="0"/>
                </a:lnTo>
                <a:close/>
              </a:path>
            </a:pathLst>
          </a:custGeom>
          <a:solidFill>
            <a:srgbClr val="F7CB00">
              <a:alpha val="50000"/>
            </a:srgbClr>
          </a:solidFill>
          <a:ln w="9525" cap="flat" cmpd="sng" algn="ctr">
            <a:solidFill>
              <a:srgbClr val="F7CB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nvGrpSpPr>
          <p:cNvPr id="41" name="Group 1005"/>
          <p:cNvGrpSpPr/>
          <p:nvPr>
            <p:custDataLst>
              <p:tags r:id="rId11"/>
            </p:custDataLst>
          </p:nvPr>
        </p:nvGrpSpPr>
        <p:grpSpPr>
          <a:xfrm>
            <a:off x="7408876" y="5877943"/>
            <a:ext cx="2006600" cy="406400"/>
            <a:chOff x="5884875" y="5877943"/>
            <a:chExt cx="2006600" cy="406400"/>
          </a:xfrm>
        </p:grpSpPr>
        <p:sp>
          <p:nvSpPr>
            <p:cNvPr id="1007" name="Rectangle 5"/>
            <p:cNvSpPr>
              <a:spLocks noChangeArrowheads="1"/>
            </p:cNvSpPr>
            <p:nvPr>
              <p:custDataLst>
                <p:tags r:id="rId95"/>
              </p:custDataLst>
            </p:nvPr>
          </p:nvSpPr>
          <p:spPr bwMode="gray">
            <a:xfrm>
              <a:off x="5922147" y="5925836"/>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sp>
          <p:nvSpPr>
            <p:cNvPr id="1008" name="Rounded Rectangle 1007"/>
            <p:cNvSpPr/>
            <p:nvPr>
              <p:custDataLst>
                <p:tags r:id="rId96"/>
              </p:custDataLst>
            </p:nvPr>
          </p:nvSpPr>
          <p:spPr>
            <a:xfrm>
              <a:off x="5884875" y="5877943"/>
              <a:ext cx="2006600" cy="406400"/>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Enabling partner environment</a:t>
              </a:r>
            </a:p>
          </p:txBody>
        </p:sp>
      </p:grpSp>
      <p:sp>
        <p:nvSpPr>
          <p:cNvPr id="1009" name="Freeform 1008"/>
          <p:cNvSpPr/>
          <p:nvPr>
            <p:custDataLst>
              <p:tags r:id="rId12"/>
            </p:custDataLst>
          </p:nvPr>
        </p:nvSpPr>
        <p:spPr bwMode="gray">
          <a:xfrm>
            <a:off x="2917236" y="1215226"/>
            <a:ext cx="2856708" cy="3297673"/>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 name="connsiteX0" fmla="*/ 414962 w 1768257"/>
              <a:gd name="connsiteY0" fmla="*/ 19334 h 1169414"/>
              <a:gd name="connsiteX1" fmla="*/ 490187 w 1768257"/>
              <a:gd name="connsiteY1" fmla="*/ 25634 h 1169414"/>
              <a:gd name="connsiteX2" fmla="*/ 581971 w 1768257"/>
              <a:gd name="connsiteY2" fmla="*/ 19397 h 1169414"/>
              <a:gd name="connsiteX3" fmla="*/ 648044 w 1768257"/>
              <a:gd name="connsiteY3" fmla="*/ 0 h 1169414"/>
              <a:gd name="connsiteX4" fmla="*/ 1768257 w 1768257"/>
              <a:gd name="connsiteY4" fmla="*/ 196963 h 1169414"/>
              <a:gd name="connsiteX5" fmla="*/ 1702094 w 1768257"/>
              <a:gd name="connsiteY5" fmla="*/ 675048 h 1169414"/>
              <a:gd name="connsiteX6" fmla="*/ 1627767 w 1768257"/>
              <a:gd name="connsiteY6" fmla="*/ 754447 h 1169414"/>
              <a:gd name="connsiteX7" fmla="*/ 1526690 w 1768257"/>
              <a:gd name="connsiteY7" fmla="*/ 846106 h 1169414"/>
              <a:gd name="connsiteX8" fmla="*/ 1422699 w 1768257"/>
              <a:gd name="connsiteY8" fmla="*/ 914426 h 1169414"/>
              <a:gd name="connsiteX9" fmla="*/ 1280144 w 1768257"/>
              <a:gd name="connsiteY9" fmla="*/ 988860 h 1169414"/>
              <a:gd name="connsiteX10" fmla="*/ 1127806 w 1768257"/>
              <a:gd name="connsiteY10" fmla="*/ 1061699 h 1169414"/>
              <a:gd name="connsiteX11" fmla="*/ 990279 w 1768257"/>
              <a:gd name="connsiteY11" fmla="*/ 1104784 h 1169414"/>
              <a:gd name="connsiteX12" fmla="*/ 810491 w 1768257"/>
              <a:gd name="connsiteY12" fmla="*/ 1147165 h 1169414"/>
              <a:gd name="connsiteX13" fmla="*/ 586912 w 1768257"/>
              <a:gd name="connsiteY13" fmla="*/ 1169414 h 1169414"/>
              <a:gd name="connsiteX14" fmla="*/ 392889 w 1768257"/>
              <a:gd name="connsiteY14" fmla="*/ 1168346 h 1169414"/>
              <a:gd name="connsiteX15" fmla="*/ 238097 w 1768257"/>
              <a:gd name="connsiteY15" fmla="*/ 1157022 h 1169414"/>
              <a:gd name="connsiteX16" fmla="*/ 101191 w 1768257"/>
              <a:gd name="connsiteY16" fmla="*/ 1134851 h 1169414"/>
              <a:gd name="connsiteX17" fmla="*/ 0 w 1768257"/>
              <a:gd name="connsiteY17" fmla="*/ 1109446 h 1169414"/>
              <a:gd name="connsiteX18" fmla="*/ 414962 w 1768257"/>
              <a:gd name="connsiteY18" fmla="*/ 19334 h 1169414"/>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526690 w 1768257"/>
              <a:gd name="connsiteY7" fmla="*/ 846106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153316 w 1768257"/>
              <a:gd name="connsiteY8" fmla="*/ 1176020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280144 w 1768257"/>
              <a:gd name="connsiteY9" fmla="*/ 988860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085994 w 1768257"/>
              <a:gd name="connsiteY9" fmla="*/ 1167555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0 h 1249090"/>
              <a:gd name="connsiteX1" fmla="*/ 490187 w 1768257"/>
              <a:gd name="connsiteY1" fmla="*/ 6300 h 1249090"/>
              <a:gd name="connsiteX2" fmla="*/ 581971 w 1768257"/>
              <a:gd name="connsiteY2" fmla="*/ 63 h 1249090"/>
              <a:gd name="connsiteX3" fmla="*/ 1609086 w 1768257"/>
              <a:gd name="connsiteY3" fmla="*/ 118832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581971 w 1768257"/>
              <a:gd name="connsiteY2" fmla="*/ 63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1616256 w 1768257"/>
              <a:gd name="connsiteY1" fmla="*/ 118675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1555592 w 1768257"/>
              <a:gd name="connsiteY0" fmla="*/ 0 h 1168033"/>
              <a:gd name="connsiteX1" fmla="*/ 1616256 w 1768257"/>
              <a:gd name="connsiteY1" fmla="*/ 37618 h 1168033"/>
              <a:gd name="connsiteX2" fmla="*/ 1635234 w 1768257"/>
              <a:gd name="connsiteY2" fmla="*/ 46119 h 1168033"/>
              <a:gd name="connsiteX3" fmla="*/ 1696453 w 1768257"/>
              <a:gd name="connsiteY3" fmla="*/ 80146 h 1168033"/>
              <a:gd name="connsiteX4" fmla="*/ 1768257 w 1768257"/>
              <a:gd name="connsiteY4" fmla="*/ 96572 h 1168033"/>
              <a:gd name="connsiteX5" fmla="*/ 1357478 w 1768257"/>
              <a:gd name="connsiteY5" fmla="*/ 1143901 h 1168033"/>
              <a:gd name="connsiteX6" fmla="*/ 1283151 w 1768257"/>
              <a:gd name="connsiteY6" fmla="*/ 1168033 h 1168033"/>
              <a:gd name="connsiteX7" fmla="*/ 1257307 w 1768257"/>
              <a:gd name="connsiteY7" fmla="*/ 1138107 h 1168033"/>
              <a:gd name="connsiteX8" fmla="*/ 1153316 w 1768257"/>
              <a:gd name="connsiteY8" fmla="*/ 1075629 h 1168033"/>
              <a:gd name="connsiteX9" fmla="*/ 1085994 w 1768257"/>
              <a:gd name="connsiteY9" fmla="*/ 1067164 h 1168033"/>
              <a:gd name="connsiteX10" fmla="*/ 1127806 w 1768257"/>
              <a:gd name="connsiteY10" fmla="*/ 961308 h 1168033"/>
              <a:gd name="connsiteX11" fmla="*/ 990279 w 1768257"/>
              <a:gd name="connsiteY11" fmla="*/ 1004393 h 1168033"/>
              <a:gd name="connsiteX12" fmla="*/ 810491 w 1768257"/>
              <a:gd name="connsiteY12" fmla="*/ 1046774 h 1168033"/>
              <a:gd name="connsiteX13" fmla="*/ 586912 w 1768257"/>
              <a:gd name="connsiteY13" fmla="*/ 1069023 h 1168033"/>
              <a:gd name="connsiteX14" fmla="*/ 392889 w 1768257"/>
              <a:gd name="connsiteY14" fmla="*/ 1067955 h 1168033"/>
              <a:gd name="connsiteX15" fmla="*/ 238097 w 1768257"/>
              <a:gd name="connsiteY15" fmla="*/ 1056631 h 1168033"/>
              <a:gd name="connsiteX16" fmla="*/ 101191 w 1768257"/>
              <a:gd name="connsiteY16" fmla="*/ 1034460 h 1168033"/>
              <a:gd name="connsiteX17" fmla="*/ 0 w 1768257"/>
              <a:gd name="connsiteY17" fmla="*/ 1009055 h 1168033"/>
              <a:gd name="connsiteX18" fmla="*/ 1555592 w 1768257"/>
              <a:gd name="connsiteY18" fmla="*/ 0 h 1168033"/>
              <a:gd name="connsiteX0" fmla="*/ 1454401 w 1667066"/>
              <a:gd name="connsiteY0" fmla="*/ 0 h 1168033"/>
              <a:gd name="connsiteX1" fmla="*/ 1515065 w 1667066"/>
              <a:gd name="connsiteY1" fmla="*/ 37618 h 1168033"/>
              <a:gd name="connsiteX2" fmla="*/ 1534043 w 1667066"/>
              <a:gd name="connsiteY2" fmla="*/ 46119 h 1168033"/>
              <a:gd name="connsiteX3" fmla="*/ 1595262 w 1667066"/>
              <a:gd name="connsiteY3" fmla="*/ 80146 h 1168033"/>
              <a:gd name="connsiteX4" fmla="*/ 1667066 w 1667066"/>
              <a:gd name="connsiteY4" fmla="*/ 96572 h 1168033"/>
              <a:gd name="connsiteX5" fmla="*/ 1256287 w 1667066"/>
              <a:gd name="connsiteY5" fmla="*/ 1143901 h 1168033"/>
              <a:gd name="connsiteX6" fmla="*/ 1181960 w 1667066"/>
              <a:gd name="connsiteY6" fmla="*/ 1168033 h 1168033"/>
              <a:gd name="connsiteX7" fmla="*/ 1156116 w 1667066"/>
              <a:gd name="connsiteY7" fmla="*/ 1138107 h 1168033"/>
              <a:gd name="connsiteX8" fmla="*/ 1052125 w 1667066"/>
              <a:gd name="connsiteY8" fmla="*/ 1075629 h 1168033"/>
              <a:gd name="connsiteX9" fmla="*/ 984803 w 1667066"/>
              <a:gd name="connsiteY9" fmla="*/ 1067164 h 1168033"/>
              <a:gd name="connsiteX10" fmla="*/ 1026615 w 1667066"/>
              <a:gd name="connsiteY10" fmla="*/ 961308 h 1168033"/>
              <a:gd name="connsiteX11" fmla="*/ 889088 w 1667066"/>
              <a:gd name="connsiteY11" fmla="*/ 1004393 h 1168033"/>
              <a:gd name="connsiteX12" fmla="*/ 709300 w 1667066"/>
              <a:gd name="connsiteY12" fmla="*/ 1046774 h 1168033"/>
              <a:gd name="connsiteX13" fmla="*/ 485721 w 1667066"/>
              <a:gd name="connsiteY13" fmla="*/ 1069023 h 1168033"/>
              <a:gd name="connsiteX14" fmla="*/ 291698 w 1667066"/>
              <a:gd name="connsiteY14" fmla="*/ 1067955 h 1168033"/>
              <a:gd name="connsiteX15" fmla="*/ 136906 w 1667066"/>
              <a:gd name="connsiteY15" fmla="*/ 1056631 h 1168033"/>
              <a:gd name="connsiteX16" fmla="*/ 0 w 1667066"/>
              <a:gd name="connsiteY16" fmla="*/ 1034460 h 1168033"/>
              <a:gd name="connsiteX17" fmla="*/ 403599 w 1667066"/>
              <a:gd name="connsiteY17" fmla="*/ 603768 h 1168033"/>
              <a:gd name="connsiteX18" fmla="*/ 1454401 w 1667066"/>
              <a:gd name="connsiteY18" fmla="*/ 0 h 1168033"/>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56116 w 1667066"/>
              <a:gd name="connsiteY7" fmla="*/ 1138107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544447 w 1667066"/>
              <a:gd name="connsiteY15" fmla="*/ 799177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40848 w 1263467"/>
              <a:gd name="connsiteY15" fmla="*/ 799177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0 w 1263467"/>
              <a:gd name="connsiteY18" fmla="*/ 603768 h 1183350"/>
              <a:gd name="connsiteX19" fmla="*/ 1050802 w 1263467"/>
              <a:gd name="connsiteY19"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26093 w 1263467"/>
              <a:gd name="connsiteY18" fmla="*/ 647770 h 1183350"/>
              <a:gd name="connsiteX19" fmla="*/ 0 w 1263467"/>
              <a:gd name="connsiteY19" fmla="*/ 603768 h 1183350"/>
              <a:gd name="connsiteX20" fmla="*/ 1050802 w 1263467"/>
              <a:gd name="connsiteY20"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94472 w 1263467"/>
              <a:gd name="connsiteY17" fmla="*/ 741201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9682 w 1263467"/>
              <a:gd name="connsiteY19" fmla="*/ 646732 h 1183350"/>
              <a:gd name="connsiteX20" fmla="*/ 0 w 1263467"/>
              <a:gd name="connsiteY20" fmla="*/ 603768 h 1183350"/>
              <a:gd name="connsiteX21" fmla="*/ 1050802 w 1263467"/>
              <a:gd name="connsiteY21" fmla="*/ 0 h 1183350"/>
              <a:gd name="connsiteX0" fmla="*/ 1060375 w 1273040"/>
              <a:gd name="connsiteY0" fmla="*/ 0 h 1183350"/>
              <a:gd name="connsiteX1" fmla="*/ 1121039 w 1273040"/>
              <a:gd name="connsiteY1" fmla="*/ 37618 h 1183350"/>
              <a:gd name="connsiteX2" fmla="*/ 1140017 w 1273040"/>
              <a:gd name="connsiteY2" fmla="*/ 46119 h 1183350"/>
              <a:gd name="connsiteX3" fmla="*/ 1201236 w 1273040"/>
              <a:gd name="connsiteY3" fmla="*/ 80146 h 1183350"/>
              <a:gd name="connsiteX4" fmla="*/ 1273040 w 1273040"/>
              <a:gd name="connsiteY4" fmla="*/ 96572 h 1183350"/>
              <a:gd name="connsiteX5" fmla="*/ 862261 w 1273040"/>
              <a:gd name="connsiteY5" fmla="*/ 1183350 h 1183350"/>
              <a:gd name="connsiteX6" fmla="*/ 787934 w 1273040"/>
              <a:gd name="connsiteY6" fmla="*/ 1168033 h 1183350"/>
              <a:gd name="connsiteX7" fmla="*/ 733371 w 1273040"/>
              <a:gd name="connsiteY7" fmla="*/ 1148488 h 1183350"/>
              <a:gd name="connsiteX8" fmla="*/ 645791 w 1273040"/>
              <a:gd name="connsiteY8" fmla="*/ 1116115 h 1183350"/>
              <a:gd name="connsiteX9" fmla="*/ 577101 w 1273040"/>
              <a:gd name="connsiteY9" fmla="*/ 1083774 h 1183350"/>
              <a:gd name="connsiteX10" fmla="*/ 523182 w 1273040"/>
              <a:gd name="connsiteY10" fmla="*/ 1063044 h 1183350"/>
              <a:gd name="connsiteX11" fmla="*/ 458137 w 1273040"/>
              <a:gd name="connsiteY11" fmla="*/ 1029308 h 1183350"/>
              <a:gd name="connsiteX12" fmla="*/ 394594 w 1273040"/>
              <a:gd name="connsiteY12" fmla="*/ 991754 h 1183350"/>
              <a:gd name="connsiteX13" fmla="*/ 340595 w 1273040"/>
              <a:gd name="connsiteY13" fmla="*/ 954830 h 1183350"/>
              <a:gd name="connsiteX14" fmla="*/ 280597 w 1273040"/>
              <a:gd name="connsiteY14" fmla="*/ 910161 h 1183350"/>
              <a:gd name="connsiteX15" fmla="*/ 191449 w 1273040"/>
              <a:gd name="connsiteY15" fmla="*/ 839664 h 1183350"/>
              <a:gd name="connsiteX16" fmla="*/ 135230 w 1273040"/>
              <a:gd name="connsiteY16" fmla="*/ 788425 h 1183350"/>
              <a:gd name="connsiteX17" fmla="*/ 93104 w 1273040"/>
              <a:gd name="connsiteY17" fmla="*/ 742239 h 1183350"/>
              <a:gd name="connsiteX18" fmla="*/ 57548 w 1273040"/>
              <a:gd name="connsiteY18" fmla="*/ 697600 h 1183350"/>
              <a:gd name="connsiteX19" fmla="*/ 19255 w 1273040"/>
              <a:gd name="connsiteY19" fmla="*/ 646732 h 1183350"/>
              <a:gd name="connsiteX20" fmla="*/ 0 w 1273040"/>
              <a:gd name="connsiteY20" fmla="*/ 612073 h 1183350"/>
              <a:gd name="connsiteX21" fmla="*/ 1060375 w 1273040"/>
              <a:gd name="connsiteY21" fmla="*/ 0 h 1183350"/>
              <a:gd name="connsiteX0" fmla="*/ 1065845 w 1278510"/>
              <a:gd name="connsiteY0" fmla="*/ 0 h 1183350"/>
              <a:gd name="connsiteX1" fmla="*/ 1126509 w 1278510"/>
              <a:gd name="connsiteY1" fmla="*/ 37618 h 1183350"/>
              <a:gd name="connsiteX2" fmla="*/ 1145487 w 1278510"/>
              <a:gd name="connsiteY2" fmla="*/ 46119 h 1183350"/>
              <a:gd name="connsiteX3" fmla="*/ 1206706 w 1278510"/>
              <a:gd name="connsiteY3" fmla="*/ 80146 h 1183350"/>
              <a:gd name="connsiteX4" fmla="*/ 1278510 w 1278510"/>
              <a:gd name="connsiteY4" fmla="*/ 96572 h 1183350"/>
              <a:gd name="connsiteX5" fmla="*/ 867731 w 1278510"/>
              <a:gd name="connsiteY5" fmla="*/ 1183350 h 1183350"/>
              <a:gd name="connsiteX6" fmla="*/ 793404 w 1278510"/>
              <a:gd name="connsiteY6" fmla="*/ 1168033 h 1183350"/>
              <a:gd name="connsiteX7" fmla="*/ 738841 w 1278510"/>
              <a:gd name="connsiteY7" fmla="*/ 1148488 h 1183350"/>
              <a:gd name="connsiteX8" fmla="*/ 651261 w 1278510"/>
              <a:gd name="connsiteY8" fmla="*/ 1116115 h 1183350"/>
              <a:gd name="connsiteX9" fmla="*/ 582571 w 1278510"/>
              <a:gd name="connsiteY9" fmla="*/ 1083774 h 1183350"/>
              <a:gd name="connsiteX10" fmla="*/ 528652 w 1278510"/>
              <a:gd name="connsiteY10" fmla="*/ 1063044 h 1183350"/>
              <a:gd name="connsiteX11" fmla="*/ 463607 w 1278510"/>
              <a:gd name="connsiteY11" fmla="*/ 1029308 h 1183350"/>
              <a:gd name="connsiteX12" fmla="*/ 400064 w 1278510"/>
              <a:gd name="connsiteY12" fmla="*/ 991754 h 1183350"/>
              <a:gd name="connsiteX13" fmla="*/ 346065 w 1278510"/>
              <a:gd name="connsiteY13" fmla="*/ 954830 h 1183350"/>
              <a:gd name="connsiteX14" fmla="*/ 286067 w 1278510"/>
              <a:gd name="connsiteY14" fmla="*/ 910161 h 1183350"/>
              <a:gd name="connsiteX15" fmla="*/ 196919 w 1278510"/>
              <a:gd name="connsiteY15" fmla="*/ 839664 h 1183350"/>
              <a:gd name="connsiteX16" fmla="*/ 140700 w 1278510"/>
              <a:gd name="connsiteY16" fmla="*/ 788425 h 1183350"/>
              <a:gd name="connsiteX17" fmla="*/ 98574 w 1278510"/>
              <a:gd name="connsiteY17" fmla="*/ 742239 h 1183350"/>
              <a:gd name="connsiteX18" fmla="*/ 63018 w 1278510"/>
              <a:gd name="connsiteY18" fmla="*/ 697600 h 1183350"/>
              <a:gd name="connsiteX19" fmla="*/ 24725 w 1278510"/>
              <a:gd name="connsiteY19" fmla="*/ 646732 h 1183350"/>
              <a:gd name="connsiteX20" fmla="*/ 0 w 1278510"/>
              <a:gd name="connsiteY20" fmla="*/ 607921 h 1183350"/>
              <a:gd name="connsiteX21" fmla="*/ 1065845 w 127851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06706 w 1283980"/>
              <a:gd name="connsiteY3" fmla="*/ 80146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11465 w 1283980"/>
              <a:gd name="connsiteY1" fmla="*/ 27237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71315 w 1283980"/>
              <a:gd name="connsiteY0" fmla="*/ 0 h 1184388"/>
              <a:gd name="connsiteX1" fmla="*/ 1111465 w 1283980"/>
              <a:gd name="connsiteY1" fmla="*/ 28275 h 1184388"/>
              <a:gd name="connsiteX2" fmla="*/ 1161898 w 1283980"/>
              <a:gd name="connsiteY2" fmla="*/ 52348 h 1184388"/>
              <a:gd name="connsiteX3" fmla="*/ 1214912 w 1283980"/>
              <a:gd name="connsiteY3" fmla="*/ 75993 h 1184388"/>
              <a:gd name="connsiteX4" fmla="*/ 1283980 w 1283980"/>
              <a:gd name="connsiteY4" fmla="*/ 92419 h 1184388"/>
              <a:gd name="connsiteX5" fmla="*/ 867731 w 1283980"/>
              <a:gd name="connsiteY5" fmla="*/ 1184388 h 1184388"/>
              <a:gd name="connsiteX6" fmla="*/ 793404 w 1283980"/>
              <a:gd name="connsiteY6" fmla="*/ 1169071 h 1184388"/>
              <a:gd name="connsiteX7" fmla="*/ 738841 w 1283980"/>
              <a:gd name="connsiteY7" fmla="*/ 1149526 h 1184388"/>
              <a:gd name="connsiteX8" fmla="*/ 651261 w 1283980"/>
              <a:gd name="connsiteY8" fmla="*/ 1117153 h 1184388"/>
              <a:gd name="connsiteX9" fmla="*/ 582571 w 1283980"/>
              <a:gd name="connsiteY9" fmla="*/ 1084812 h 1184388"/>
              <a:gd name="connsiteX10" fmla="*/ 528652 w 1283980"/>
              <a:gd name="connsiteY10" fmla="*/ 1064082 h 1184388"/>
              <a:gd name="connsiteX11" fmla="*/ 463607 w 1283980"/>
              <a:gd name="connsiteY11" fmla="*/ 1030346 h 1184388"/>
              <a:gd name="connsiteX12" fmla="*/ 400064 w 1283980"/>
              <a:gd name="connsiteY12" fmla="*/ 992792 h 1184388"/>
              <a:gd name="connsiteX13" fmla="*/ 346065 w 1283980"/>
              <a:gd name="connsiteY13" fmla="*/ 955868 h 1184388"/>
              <a:gd name="connsiteX14" fmla="*/ 286067 w 1283980"/>
              <a:gd name="connsiteY14" fmla="*/ 911199 h 1184388"/>
              <a:gd name="connsiteX15" fmla="*/ 196919 w 1283980"/>
              <a:gd name="connsiteY15" fmla="*/ 840702 h 1184388"/>
              <a:gd name="connsiteX16" fmla="*/ 140700 w 1283980"/>
              <a:gd name="connsiteY16" fmla="*/ 789463 h 1184388"/>
              <a:gd name="connsiteX17" fmla="*/ 98574 w 1283980"/>
              <a:gd name="connsiteY17" fmla="*/ 743277 h 1184388"/>
              <a:gd name="connsiteX18" fmla="*/ 63018 w 1283980"/>
              <a:gd name="connsiteY18" fmla="*/ 698638 h 1184388"/>
              <a:gd name="connsiteX19" fmla="*/ 24725 w 1283980"/>
              <a:gd name="connsiteY19" fmla="*/ 647770 h 1184388"/>
              <a:gd name="connsiteX20" fmla="*/ 0 w 1283980"/>
              <a:gd name="connsiteY20" fmla="*/ 608959 h 1184388"/>
              <a:gd name="connsiteX21" fmla="*/ 1071315 w 1283980"/>
              <a:gd name="connsiteY21" fmla="*/ 0 h 1184388"/>
              <a:gd name="connsiteX0" fmla="*/ 1071315 w 1532073"/>
              <a:gd name="connsiteY0" fmla="*/ 0 h 1184388"/>
              <a:gd name="connsiteX1" fmla="*/ 1111465 w 1532073"/>
              <a:gd name="connsiteY1" fmla="*/ 28275 h 1184388"/>
              <a:gd name="connsiteX2" fmla="*/ 1161898 w 1532073"/>
              <a:gd name="connsiteY2" fmla="*/ 52348 h 1184388"/>
              <a:gd name="connsiteX3" fmla="*/ 1214912 w 1532073"/>
              <a:gd name="connsiteY3" fmla="*/ 75993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111465 w 1532073"/>
              <a:gd name="connsiteY1" fmla="*/ 28275 h 1184388"/>
              <a:gd name="connsiteX2" fmla="*/ 1161898 w 1532073"/>
              <a:gd name="connsiteY2" fmla="*/ 52348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111465 w 1532073"/>
              <a:gd name="connsiteY1" fmla="*/ 28275 h 1184388"/>
              <a:gd name="connsiteX2" fmla="*/ 1448159 w 1532073"/>
              <a:gd name="connsiteY2" fmla="*/ 197213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457704 w 1532073"/>
              <a:gd name="connsiteY1" fmla="*/ 140028 h 1184388"/>
              <a:gd name="connsiteX2" fmla="*/ 1448159 w 1532073"/>
              <a:gd name="connsiteY2" fmla="*/ 197213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480259 w 1532073"/>
              <a:gd name="connsiteY0" fmla="*/ 0 h 1126442"/>
              <a:gd name="connsiteX1" fmla="*/ 1457704 w 1532073"/>
              <a:gd name="connsiteY1" fmla="*/ 82082 h 1126442"/>
              <a:gd name="connsiteX2" fmla="*/ 1448159 w 1532073"/>
              <a:gd name="connsiteY2" fmla="*/ 139267 h 1126442"/>
              <a:gd name="connsiteX3" fmla="*/ 1460278 w 1532073"/>
              <a:gd name="connsiteY3" fmla="*/ 196024 h 1126442"/>
              <a:gd name="connsiteX4" fmla="*/ 1532073 w 1532073"/>
              <a:gd name="connsiteY4" fmla="*/ 305577 h 1126442"/>
              <a:gd name="connsiteX5" fmla="*/ 867731 w 1532073"/>
              <a:gd name="connsiteY5" fmla="*/ 1126442 h 1126442"/>
              <a:gd name="connsiteX6" fmla="*/ 793404 w 1532073"/>
              <a:gd name="connsiteY6" fmla="*/ 1111125 h 1126442"/>
              <a:gd name="connsiteX7" fmla="*/ 738841 w 1532073"/>
              <a:gd name="connsiteY7" fmla="*/ 1091580 h 1126442"/>
              <a:gd name="connsiteX8" fmla="*/ 651261 w 1532073"/>
              <a:gd name="connsiteY8" fmla="*/ 1059207 h 1126442"/>
              <a:gd name="connsiteX9" fmla="*/ 582571 w 1532073"/>
              <a:gd name="connsiteY9" fmla="*/ 1026866 h 1126442"/>
              <a:gd name="connsiteX10" fmla="*/ 528652 w 1532073"/>
              <a:gd name="connsiteY10" fmla="*/ 1006136 h 1126442"/>
              <a:gd name="connsiteX11" fmla="*/ 463607 w 1532073"/>
              <a:gd name="connsiteY11" fmla="*/ 972400 h 1126442"/>
              <a:gd name="connsiteX12" fmla="*/ 400064 w 1532073"/>
              <a:gd name="connsiteY12" fmla="*/ 934846 h 1126442"/>
              <a:gd name="connsiteX13" fmla="*/ 346065 w 1532073"/>
              <a:gd name="connsiteY13" fmla="*/ 897922 h 1126442"/>
              <a:gd name="connsiteX14" fmla="*/ 286067 w 1532073"/>
              <a:gd name="connsiteY14" fmla="*/ 853253 h 1126442"/>
              <a:gd name="connsiteX15" fmla="*/ 196919 w 1532073"/>
              <a:gd name="connsiteY15" fmla="*/ 782756 h 1126442"/>
              <a:gd name="connsiteX16" fmla="*/ 140700 w 1532073"/>
              <a:gd name="connsiteY16" fmla="*/ 731517 h 1126442"/>
              <a:gd name="connsiteX17" fmla="*/ 98574 w 1532073"/>
              <a:gd name="connsiteY17" fmla="*/ 685331 h 1126442"/>
              <a:gd name="connsiteX18" fmla="*/ 63018 w 1532073"/>
              <a:gd name="connsiteY18" fmla="*/ 640692 h 1126442"/>
              <a:gd name="connsiteX19" fmla="*/ 24725 w 1532073"/>
              <a:gd name="connsiteY19" fmla="*/ 589824 h 1126442"/>
              <a:gd name="connsiteX20" fmla="*/ 0 w 1532073"/>
              <a:gd name="connsiteY20" fmla="*/ 551013 h 1126442"/>
              <a:gd name="connsiteX21" fmla="*/ 1480259 w 1532073"/>
              <a:gd name="connsiteY21" fmla="*/ 0 h 1126442"/>
              <a:gd name="connsiteX0" fmla="*/ 1455534 w 1507348"/>
              <a:gd name="connsiteY0" fmla="*/ 0 h 1126442"/>
              <a:gd name="connsiteX1" fmla="*/ 1432979 w 1507348"/>
              <a:gd name="connsiteY1" fmla="*/ 82082 h 1126442"/>
              <a:gd name="connsiteX2" fmla="*/ 1423434 w 1507348"/>
              <a:gd name="connsiteY2" fmla="*/ 139267 h 1126442"/>
              <a:gd name="connsiteX3" fmla="*/ 1435553 w 1507348"/>
              <a:gd name="connsiteY3" fmla="*/ 196024 h 1126442"/>
              <a:gd name="connsiteX4" fmla="*/ 1507348 w 1507348"/>
              <a:gd name="connsiteY4" fmla="*/ 305577 h 1126442"/>
              <a:gd name="connsiteX5" fmla="*/ 843006 w 1507348"/>
              <a:gd name="connsiteY5" fmla="*/ 1126442 h 1126442"/>
              <a:gd name="connsiteX6" fmla="*/ 768679 w 1507348"/>
              <a:gd name="connsiteY6" fmla="*/ 1111125 h 1126442"/>
              <a:gd name="connsiteX7" fmla="*/ 714116 w 1507348"/>
              <a:gd name="connsiteY7" fmla="*/ 1091580 h 1126442"/>
              <a:gd name="connsiteX8" fmla="*/ 626536 w 1507348"/>
              <a:gd name="connsiteY8" fmla="*/ 1059207 h 1126442"/>
              <a:gd name="connsiteX9" fmla="*/ 557846 w 1507348"/>
              <a:gd name="connsiteY9" fmla="*/ 1026866 h 1126442"/>
              <a:gd name="connsiteX10" fmla="*/ 503927 w 1507348"/>
              <a:gd name="connsiteY10" fmla="*/ 1006136 h 1126442"/>
              <a:gd name="connsiteX11" fmla="*/ 438882 w 1507348"/>
              <a:gd name="connsiteY11" fmla="*/ 972400 h 1126442"/>
              <a:gd name="connsiteX12" fmla="*/ 375339 w 1507348"/>
              <a:gd name="connsiteY12" fmla="*/ 934846 h 1126442"/>
              <a:gd name="connsiteX13" fmla="*/ 321340 w 1507348"/>
              <a:gd name="connsiteY13" fmla="*/ 897922 h 1126442"/>
              <a:gd name="connsiteX14" fmla="*/ 261342 w 1507348"/>
              <a:gd name="connsiteY14" fmla="*/ 853253 h 1126442"/>
              <a:gd name="connsiteX15" fmla="*/ 172194 w 1507348"/>
              <a:gd name="connsiteY15" fmla="*/ 782756 h 1126442"/>
              <a:gd name="connsiteX16" fmla="*/ 115975 w 1507348"/>
              <a:gd name="connsiteY16" fmla="*/ 731517 h 1126442"/>
              <a:gd name="connsiteX17" fmla="*/ 73849 w 1507348"/>
              <a:gd name="connsiteY17" fmla="*/ 685331 h 1126442"/>
              <a:gd name="connsiteX18" fmla="*/ 38293 w 1507348"/>
              <a:gd name="connsiteY18" fmla="*/ 640692 h 1126442"/>
              <a:gd name="connsiteX19" fmla="*/ 0 w 1507348"/>
              <a:gd name="connsiteY19" fmla="*/ 589824 h 1126442"/>
              <a:gd name="connsiteX20" fmla="*/ 408756 w 1507348"/>
              <a:gd name="connsiteY20" fmla="*/ 15013 h 1126442"/>
              <a:gd name="connsiteX21" fmla="*/ 1455534 w 1507348"/>
              <a:gd name="connsiteY21" fmla="*/ 0 h 1126442"/>
              <a:gd name="connsiteX0" fmla="*/ 1417241 w 1469055"/>
              <a:gd name="connsiteY0" fmla="*/ 0 h 1126442"/>
              <a:gd name="connsiteX1" fmla="*/ 1394686 w 1469055"/>
              <a:gd name="connsiteY1" fmla="*/ 82082 h 1126442"/>
              <a:gd name="connsiteX2" fmla="*/ 1385141 w 1469055"/>
              <a:gd name="connsiteY2" fmla="*/ 139267 h 1126442"/>
              <a:gd name="connsiteX3" fmla="*/ 1397260 w 1469055"/>
              <a:gd name="connsiteY3" fmla="*/ 196024 h 1126442"/>
              <a:gd name="connsiteX4" fmla="*/ 1469055 w 1469055"/>
              <a:gd name="connsiteY4" fmla="*/ 305577 h 1126442"/>
              <a:gd name="connsiteX5" fmla="*/ 804713 w 1469055"/>
              <a:gd name="connsiteY5" fmla="*/ 1126442 h 1126442"/>
              <a:gd name="connsiteX6" fmla="*/ 730386 w 1469055"/>
              <a:gd name="connsiteY6" fmla="*/ 1111125 h 1126442"/>
              <a:gd name="connsiteX7" fmla="*/ 675823 w 1469055"/>
              <a:gd name="connsiteY7" fmla="*/ 1091580 h 1126442"/>
              <a:gd name="connsiteX8" fmla="*/ 588243 w 1469055"/>
              <a:gd name="connsiteY8" fmla="*/ 1059207 h 1126442"/>
              <a:gd name="connsiteX9" fmla="*/ 519553 w 1469055"/>
              <a:gd name="connsiteY9" fmla="*/ 1026866 h 1126442"/>
              <a:gd name="connsiteX10" fmla="*/ 465634 w 1469055"/>
              <a:gd name="connsiteY10" fmla="*/ 1006136 h 1126442"/>
              <a:gd name="connsiteX11" fmla="*/ 400589 w 1469055"/>
              <a:gd name="connsiteY11" fmla="*/ 972400 h 1126442"/>
              <a:gd name="connsiteX12" fmla="*/ 337046 w 1469055"/>
              <a:gd name="connsiteY12" fmla="*/ 934846 h 1126442"/>
              <a:gd name="connsiteX13" fmla="*/ 283047 w 1469055"/>
              <a:gd name="connsiteY13" fmla="*/ 897922 h 1126442"/>
              <a:gd name="connsiteX14" fmla="*/ 223049 w 1469055"/>
              <a:gd name="connsiteY14" fmla="*/ 853253 h 1126442"/>
              <a:gd name="connsiteX15" fmla="*/ 133901 w 1469055"/>
              <a:gd name="connsiteY15" fmla="*/ 782756 h 1126442"/>
              <a:gd name="connsiteX16" fmla="*/ 77682 w 1469055"/>
              <a:gd name="connsiteY16" fmla="*/ 731517 h 1126442"/>
              <a:gd name="connsiteX17" fmla="*/ 35556 w 1469055"/>
              <a:gd name="connsiteY17" fmla="*/ 685331 h 1126442"/>
              <a:gd name="connsiteX18" fmla="*/ 0 w 1469055"/>
              <a:gd name="connsiteY18" fmla="*/ 640692 h 1126442"/>
              <a:gd name="connsiteX19" fmla="*/ 329756 w 1469055"/>
              <a:gd name="connsiteY19" fmla="*/ 91075 h 1126442"/>
              <a:gd name="connsiteX20" fmla="*/ 370463 w 1469055"/>
              <a:gd name="connsiteY20" fmla="*/ 15013 h 1126442"/>
              <a:gd name="connsiteX21" fmla="*/ 1417241 w 1469055"/>
              <a:gd name="connsiteY21" fmla="*/ 0 h 1126442"/>
              <a:gd name="connsiteX0" fmla="*/ 1381685 w 1433499"/>
              <a:gd name="connsiteY0" fmla="*/ 0 h 1126442"/>
              <a:gd name="connsiteX1" fmla="*/ 1359130 w 1433499"/>
              <a:gd name="connsiteY1" fmla="*/ 82082 h 1126442"/>
              <a:gd name="connsiteX2" fmla="*/ 1349585 w 1433499"/>
              <a:gd name="connsiteY2" fmla="*/ 139267 h 1126442"/>
              <a:gd name="connsiteX3" fmla="*/ 1361704 w 1433499"/>
              <a:gd name="connsiteY3" fmla="*/ 196024 h 1126442"/>
              <a:gd name="connsiteX4" fmla="*/ 1433499 w 1433499"/>
              <a:gd name="connsiteY4" fmla="*/ 305577 h 1126442"/>
              <a:gd name="connsiteX5" fmla="*/ 769157 w 1433499"/>
              <a:gd name="connsiteY5" fmla="*/ 1126442 h 1126442"/>
              <a:gd name="connsiteX6" fmla="*/ 694830 w 1433499"/>
              <a:gd name="connsiteY6" fmla="*/ 1111125 h 1126442"/>
              <a:gd name="connsiteX7" fmla="*/ 640267 w 1433499"/>
              <a:gd name="connsiteY7" fmla="*/ 1091580 h 1126442"/>
              <a:gd name="connsiteX8" fmla="*/ 552687 w 1433499"/>
              <a:gd name="connsiteY8" fmla="*/ 1059207 h 1126442"/>
              <a:gd name="connsiteX9" fmla="*/ 483997 w 1433499"/>
              <a:gd name="connsiteY9" fmla="*/ 1026866 h 1126442"/>
              <a:gd name="connsiteX10" fmla="*/ 430078 w 1433499"/>
              <a:gd name="connsiteY10" fmla="*/ 1006136 h 1126442"/>
              <a:gd name="connsiteX11" fmla="*/ 365033 w 1433499"/>
              <a:gd name="connsiteY11" fmla="*/ 972400 h 1126442"/>
              <a:gd name="connsiteX12" fmla="*/ 301490 w 1433499"/>
              <a:gd name="connsiteY12" fmla="*/ 934846 h 1126442"/>
              <a:gd name="connsiteX13" fmla="*/ 247491 w 1433499"/>
              <a:gd name="connsiteY13" fmla="*/ 897922 h 1126442"/>
              <a:gd name="connsiteX14" fmla="*/ 187493 w 1433499"/>
              <a:gd name="connsiteY14" fmla="*/ 853253 h 1126442"/>
              <a:gd name="connsiteX15" fmla="*/ 98345 w 1433499"/>
              <a:gd name="connsiteY15" fmla="*/ 782756 h 1126442"/>
              <a:gd name="connsiteX16" fmla="*/ 42126 w 1433499"/>
              <a:gd name="connsiteY16" fmla="*/ 731517 h 1126442"/>
              <a:gd name="connsiteX17" fmla="*/ 0 w 1433499"/>
              <a:gd name="connsiteY17" fmla="*/ 685331 h 1126442"/>
              <a:gd name="connsiteX18" fmla="*/ 256157 w 1433499"/>
              <a:gd name="connsiteY18" fmla="*/ 195749 h 1126442"/>
              <a:gd name="connsiteX19" fmla="*/ 294200 w 1433499"/>
              <a:gd name="connsiteY19" fmla="*/ 91075 h 1126442"/>
              <a:gd name="connsiteX20" fmla="*/ 334907 w 1433499"/>
              <a:gd name="connsiteY20" fmla="*/ 15013 h 1126442"/>
              <a:gd name="connsiteX21" fmla="*/ 1381685 w 1433499"/>
              <a:gd name="connsiteY21" fmla="*/ 0 h 1126442"/>
              <a:gd name="connsiteX0" fmla="*/ 1339559 w 1391373"/>
              <a:gd name="connsiteY0" fmla="*/ 0 h 1126442"/>
              <a:gd name="connsiteX1" fmla="*/ 1317004 w 1391373"/>
              <a:gd name="connsiteY1" fmla="*/ 82082 h 1126442"/>
              <a:gd name="connsiteX2" fmla="*/ 1307459 w 1391373"/>
              <a:gd name="connsiteY2" fmla="*/ 139267 h 1126442"/>
              <a:gd name="connsiteX3" fmla="*/ 1319578 w 1391373"/>
              <a:gd name="connsiteY3" fmla="*/ 196024 h 1126442"/>
              <a:gd name="connsiteX4" fmla="*/ 1391373 w 1391373"/>
              <a:gd name="connsiteY4" fmla="*/ 305577 h 1126442"/>
              <a:gd name="connsiteX5" fmla="*/ 727031 w 1391373"/>
              <a:gd name="connsiteY5" fmla="*/ 1126442 h 1126442"/>
              <a:gd name="connsiteX6" fmla="*/ 652704 w 1391373"/>
              <a:gd name="connsiteY6" fmla="*/ 1111125 h 1126442"/>
              <a:gd name="connsiteX7" fmla="*/ 598141 w 1391373"/>
              <a:gd name="connsiteY7" fmla="*/ 1091580 h 1126442"/>
              <a:gd name="connsiteX8" fmla="*/ 510561 w 1391373"/>
              <a:gd name="connsiteY8" fmla="*/ 1059207 h 1126442"/>
              <a:gd name="connsiteX9" fmla="*/ 441871 w 1391373"/>
              <a:gd name="connsiteY9" fmla="*/ 1026866 h 1126442"/>
              <a:gd name="connsiteX10" fmla="*/ 387952 w 1391373"/>
              <a:gd name="connsiteY10" fmla="*/ 1006136 h 1126442"/>
              <a:gd name="connsiteX11" fmla="*/ 322907 w 1391373"/>
              <a:gd name="connsiteY11" fmla="*/ 972400 h 1126442"/>
              <a:gd name="connsiteX12" fmla="*/ 259364 w 1391373"/>
              <a:gd name="connsiteY12" fmla="*/ 934846 h 1126442"/>
              <a:gd name="connsiteX13" fmla="*/ 205365 w 1391373"/>
              <a:gd name="connsiteY13" fmla="*/ 897922 h 1126442"/>
              <a:gd name="connsiteX14" fmla="*/ 145367 w 1391373"/>
              <a:gd name="connsiteY14" fmla="*/ 853253 h 1126442"/>
              <a:gd name="connsiteX15" fmla="*/ 56219 w 1391373"/>
              <a:gd name="connsiteY15" fmla="*/ 782756 h 1126442"/>
              <a:gd name="connsiteX16" fmla="*/ 0 w 1391373"/>
              <a:gd name="connsiteY16" fmla="*/ 731517 h 1126442"/>
              <a:gd name="connsiteX17" fmla="*/ 186883 w 1391373"/>
              <a:gd name="connsiteY17" fmla="*/ 368698 h 1126442"/>
              <a:gd name="connsiteX18" fmla="*/ 214031 w 1391373"/>
              <a:gd name="connsiteY18" fmla="*/ 195749 h 1126442"/>
              <a:gd name="connsiteX19" fmla="*/ 252074 w 1391373"/>
              <a:gd name="connsiteY19" fmla="*/ 91075 h 1126442"/>
              <a:gd name="connsiteX20" fmla="*/ 292781 w 1391373"/>
              <a:gd name="connsiteY20" fmla="*/ 15013 h 1126442"/>
              <a:gd name="connsiteX21" fmla="*/ 1339559 w 1391373"/>
              <a:gd name="connsiteY21" fmla="*/ 0 h 1126442"/>
              <a:gd name="connsiteX0" fmla="*/ 1283340 w 1335154"/>
              <a:gd name="connsiteY0" fmla="*/ 0 h 1126442"/>
              <a:gd name="connsiteX1" fmla="*/ 1260785 w 1335154"/>
              <a:gd name="connsiteY1" fmla="*/ 82082 h 1126442"/>
              <a:gd name="connsiteX2" fmla="*/ 1251240 w 1335154"/>
              <a:gd name="connsiteY2" fmla="*/ 139267 h 1126442"/>
              <a:gd name="connsiteX3" fmla="*/ 1263359 w 1335154"/>
              <a:gd name="connsiteY3" fmla="*/ 196024 h 1126442"/>
              <a:gd name="connsiteX4" fmla="*/ 1335154 w 1335154"/>
              <a:gd name="connsiteY4" fmla="*/ 305577 h 1126442"/>
              <a:gd name="connsiteX5" fmla="*/ 670812 w 1335154"/>
              <a:gd name="connsiteY5" fmla="*/ 1126442 h 1126442"/>
              <a:gd name="connsiteX6" fmla="*/ 596485 w 1335154"/>
              <a:gd name="connsiteY6" fmla="*/ 1111125 h 1126442"/>
              <a:gd name="connsiteX7" fmla="*/ 541922 w 1335154"/>
              <a:gd name="connsiteY7" fmla="*/ 1091580 h 1126442"/>
              <a:gd name="connsiteX8" fmla="*/ 454342 w 1335154"/>
              <a:gd name="connsiteY8" fmla="*/ 1059207 h 1126442"/>
              <a:gd name="connsiteX9" fmla="*/ 385652 w 1335154"/>
              <a:gd name="connsiteY9" fmla="*/ 1026866 h 1126442"/>
              <a:gd name="connsiteX10" fmla="*/ 331733 w 1335154"/>
              <a:gd name="connsiteY10" fmla="*/ 1006136 h 1126442"/>
              <a:gd name="connsiteX11" fmla="*/ 266688 w 1335154"/>
              <a:gd name="connsiteY11" fmla="*/ 972400 h 1126442"/>
              <a:gd name="connsiteX12" fmla="*/ 203145 w 1335154"/>
              <a:gd name="connsiteY12" fmla="*/ 934846 h 1126442"/>
              <a:gd name="connsiteX13" fmla="*/ 149146 w 1335154"/>
              <a:gd name="connsiteY13" fmla="*/ 897922 h 1126442"/>
              <a:gd name="connsiteX14" fmla="*/ 89148 w 1335154"/>
              <a:gd name="connsiteY14" fmla="*/ 853253 h 1126442"/>
              <a:gd name="connsiteX15" fmla="*/ 0 w 1335154"/>
              <a:gd name="connsiteY15" fmla="*/ 782756 h 1126442"/>
              <a:gd name="connsiteX16" fmla="*/ 110085 w 1335154"/>
              <a:gd name="connsiteY16" fmla="*/ 466621 h 1126442"/>
              <a:gd name="connsiteX17" fmla="*/ 130664 w 1335154"/>
              <a:gd name="connsiteY17" fmla="*/ 368698 h 1126442"/>
              <a:gd name="connsiteX18" fmla="*/ 157812 w 1335154"/>
              <a:gd name="connsiteY18" fmla="*/ 195749 h 1126442"/>
              <a:gd name="connsiteX19" fmla="*/ 195855 w 1335154"/>
              <a:gd name="connsiteY19" fmla="*/ 91075 h 1126442"/>
              <a:gd name="connsiteX20" fmla="*/ 236562 w 1335154"/>
              <a:gd name="connsiteY20" fmla="*/ 15013 h 1126442"/>
              <a:gd name="connsiteX21" fmla="*/ 1283340 w 1335154"/>
              <a:gd name="connsiteY21" fmla="*/ 0 h 1126442"/>
              <a:gd name="connsiteX0" fmla="*/ 1194192 w 1246006"/>
              <a:gd name="connsiteY0" fmla="*/ 0 h 1126442"/>
              <a:gd name="connsiteX1" fmla="*/ 1171637 w 1246006"/>
              <a:gd name="connsiteY1" fmla="*/ 82082 h 1126442"/>
              <a:gd name="connsiteX2" fmla="*/ 1162092 w 1246006"/>
              <a:gd name="connsiteY2" fmla="*/ 139267 h 1126442"/>
              <a:gd name="connsiteX3" fmla="*/ 1174211 w 1246006"/>
              <a:gd name="connsiteY3" fmla="*/ 196024 h 1126442"/>
              <a:gd name="connsiteX4" fmla="*/ 1246006 w 1246006"/>
              <a:gd name="connsiteY4" fmla="*/ 305577 h 1126442"/>
              <a:gd name="connsiteX5" fmla="*/ 581664 w 1246006"/>
              <a:gd name="connsiteY5" fmla="*/ 1126442 h 1126442"/>
              <a:gd name="connsiteX6" fmla="*/ 507337 w 1246006"/>
              <a:gd name="connsiteY6" fmla="*/ 1111125 h 1126442"/>
              <a:gd name="connsiteX7" fmla="*/ 452774 w 1246006"/>
              <a:gd name="connsiteY7" fmla="*/ 1091580 h 1126442"/>
              <a:gd name="connsiteX8" fmla="*/ 365194 w 1246006"/>
              <a:gd name="connsiteY8" fmla="*/ 1059207 h 1126442"/>
              <a:gd name="connsiteX9" fmla="*/ 296504 w 1246006"/>
              <a:gd name="connsiteY9" fmla="*/ 1026866 h 1126442"/>
              <a:gd name="connsiteX10" fmla="*/ 242585 w 1246006"/>
              <a:gd name="connsiteY10" fmla="*/ 1006136 h 1126442"/>
              <a:gd name="connsiteX11" fmla="*/ 177540 w 1246006"/>
              <a:gd name="connsiteY11" fmla="*/ 972400 h 1126442"/>
              <a:gd name="connsiteX12" fmla="*/ 113997 w 1246006"/>
              <a:gd name="connsiteY12" fmla="*/ 934846 h 1126442"/>
              <a:gd name="connsiteX13" fmla="*/ 59998 w 1246006"/>
              <a:gd name="connsiteY13" fmla="*/ 897922 h 1126442"/>
              <a:gd name="connsiteX14" fmla="*/ 0 w 1246006"/>
              <a:gd name="connsiteY14" fmla="*/ 853253 h 1126442"/>
              <a:gd name="connsiteX15" fmla="*/ 82609 w 1246006"/>
              <a:gd name="connsiteY15" fmla="*/ 534416 h 1126442"/>
              <a:gd name="connsiteX16" fmla="*/ 20937 w 1246006"/>
              <a:gd name="connsiteY16" fmla="*/ 466621 h 1126442"/>
              <a:gd name="connsiteX17" fmla="*/ 41516 w 1246006"/>
              <a:gd name="connsiteY17" fmla="*/ 368698 h 1126442"/>
              <a:gd name="connsiteX18" fmla="*/ 68664 w 1246006"/>
              <a:gd name="connsiteY18" fmla="*/ 195749 h 1126442"/>
              <a:gd name="connsiteX19" fmla="*/ 106707 w 1246006"/>
              <a:gd name="connsiteY19" fmla="*/ 91075 h 1126442"/>
              <a:gd name="connsiteX20" fmla="*/ 147414 w 1246006"/>
              <a:gd name="connsiteY20" fmla="*/ 15013 h 1126442"/>
              <a:gd name="connsiteX21" fmla="*/ 1194192 w 1246006"/>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93060 w 1225069"/>
              <a:gd name="connsiteY12" fmla="*/ 934846 h 1126442"/>
              <a:gd name="connsiteX13" fmla="*/ 39061 w 1225069"/>
              <a:gd name="connsiteY13" fmla="*/ 897922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93060 w 1225069"/>
              <a:gd name="connsiteY12" fmla="*/ 934846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91172 w 1225069"/>
              <a:gd name="connsiteY11" fmla="*/ 759242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91172 w 1225069"/>
              <a:gd name="connsiteY11" fmla="*/ 759242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31485 w 1225069"/>
              <a:gd name="connsiteY17" fmla="*/ 273501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47220 w 1200532"/>
              <a:gd name="connsiteY14" fmla="*/ 640094 h 1126442"/>
              <a:gd name="connsiteX15" fmla="*/ 37135 w 1200532"/>
              <a:gd name="connsiteY15" fmla="*/ 534416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47220 w 1200532"/>
              <a:gd name="connsiteY14" fmla="*/ 640094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103810 w 1200532"/>
              <a:gd name="connsiteY9" fmla="*/ 867515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134332 w 1200532"/>
              <a:gd name="connsiteY8" fmla="*/ 899856 h 1126442"/>
              <a:gd name="connsiteX9" fmla="*/ 103810 w 1200532"/>
              <a:gd name="connsiteY9" fmla="*/ 867515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134332 w 1200532"/>
              <a:gd name="connsiteY7" fmla="*/ 899856 h 1126442"/>
              <a:gd name="connsiteX8" fmla="*/ 103810 w 1200532"/>
              <a:gd name="connsiteY8" fmla="*/ 867515 h 1126442"/>
              <a:gd name="connsiteX9" fmla="*/ 82607 w 1200532"/>
              <a:gd name="connsiteY9" fmla="*/ 807464 h 1126442"/>
              <a:gd name="connsiteX10" fmla="*/ 66635 w 1200532"/>
              <a:gd name="connsiteY10" fmla="*/ 759242 h 1126442"/>
              <a:gd name="connsiteX11" fmla="*/ 35807 w 1200532"/>
              <a:gd name="connsiteY11" fmla="*/ 713409 h 1126442"/>
              <a:gd name="connsiteX12" fmla="*/ 22702 w 1200532"/>
              <a:gd name="connsiteY12" fmla="*/ 645443 h 1126442"/>
              <a:gd name="connsiteX13" fmla="*/ 873 w 1200532"/>
              <a:gd name="connsiteY13" fmla="*/ 546967 h 1126442"/>
              <a:gd name="connsiteX14" fmla="*/ 9872 w 1200532"/>
              <a:gd name="connsiteY14" fmla="*/ 470262 h 1126442"/>
              <a:gd name="connsiteX15" fmla="*/ 0 w 1200532"/>
              <a:gd name="connsiteY15" fmla="*/ 373493 h 1126442"/>
              <a:gd name="connsiteX16" fmla="*/ 6948 w 1200532"/>
              <a:gd name="connsiteY16" fmla="*/ 273501 h 1126442"/>
              <a:gd name="connsiteX17" fmla="*/ 23190 w 1200532"/>
              <a:gd name="connsiteY17" fmla="*/ 195749 h 1126442"/>
              <a:gd name="connsiteX18" fmla="*/ 61233 w 1200532"/>
              <a:gd name="connsiteY18" fmla="*/ 91075 h 1126442"/>
              <a:gd name="connsiteX19" fmla="*/ 101940 w 1200532"/>
              <a:gd name="connsiteY19" fmla="*/ 15013 h 1126442"/>
              <a:gd name="connsiteX20" fmla="*/ 1148718 w 1200532"/>
              <a:gd name="connsiteY20"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134332 w 1200532"/>
              <a:gd name="connsiteY6" fmla="*/ 899856 h 1126442"/>
              <a:gd name="connsiteX7" fmla="*/ 103810 w 1200532"/>
              <a:gd name="connsiteY7" fmla="*/ 867515 h 1126442"/>
              <a:gd name="connsiteX8" fmla="*/ 82607 w 1200532"/>
              <a:gd name="connsiteY8" fmla="*/ 807464 h 1126442"/>
              <a:gd name="connsiteX9" fmla="*/ 66635 w 1200532"/>
              <a:gd name="connsiteY9" fmla="*/ 759242 h 1126442"/>
              <a:gd name="connsiteX10" fmla="*/ 35807 w 1200532"/>
              <a:gd name="connsiteY10" fmla="*/ 713409 h 1126442"/>
              <a:gd name="connsiteX11" fmla="*/ 22702 w 1200532"/>
              <a:gd name="connsiteY11" fmla="*/ 645443 h 1126442"/>
              <a:gd name="connsiteX12" fmla="*/ 873 w 1200532"/>
              <a:gd name="connsiteY12" fmla="*/ 546967 h 1126442"/>
              <a:gd name="connsiteX13" fmla="*/ 9872 w 1200532"/>
              <a:gd name="connsiteY13" fmla="*/ 470262 h 1126442"/>
              <a:gd name="connsiteX14" fmla="*/ 0 w 1200532"/>
              <a:gd name="connsiteY14" fmla="*/ 373493 h 1126442"/>
              <a:gd name="connsiteX15" fmla="*/ 6948 w 1200532"/>
              <a:gd name="connsiteY15" fmla="*/ 273501 h 1126442"/>
              <a:gd name="connsiteX16" fmla="*/ 23190 w 1200532"/>
              <a:gd name="connsiteY16" fmla="*/ 195749 h 1126442"/>
              <a:gd name="connsiteX17" fmla="*/ 61233 w 1200532"/>
              <a:gd name="connsiteY17" fmla="*/ 91075 h 1126442"/>
              <a:gd name="connsiteX18" fmla="*/ 101940 w 1200532"/>
              <a:gd name="connsiteY18" fmla="*/ 15013 h 1126442"/>
              <a:gd name="connsiteX19" fmla="*/ 1148718 w 1200532"/>
              <a:gd name="connsiteY19" fmla="*/ 0 h 1126442"/>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34332 w 1200532"/>
              <a:gd name="connsiteY6" fmla="*/ 899856 h 942257"/>
              <a:gd name="connsiteX7" fmla="*/ 103810 w 1200532"/>
              <a:gd name="connsiteY7" fmla="*/ 867515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34332 w 1200532"/>
              <a:gd name="connsiteY6" fmla="*/ 899856 h 942257"/>
              <a:gd name="connsiteX7" fmla="*/ 87453 w 1200532"/>
              <a:gd name="connsiteY7" fmla="*/ 832334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04342 w 1200532"/>
              <a:gd name="connsiteY6" fmla="*/ 858466 h 942257"/>
              <a:gd name="connsiteX7" fmla="*/ 87453 w 1200532"/>
              <a:gd name="connsiteY7" fmla="*/ 832334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1108143"/>
              <a:gd name="connsiteX1" fmla="*/ 1126163 w 1200532"/>
              <a:gd name="connsiteY1" fmla="*/ 82082 h 1108143"/>
              <a:gd name="connsiteX2" fmla="*/ 1116618 w 1200532"/>
              <a:gd name="connsiteY2" fmla="*/ 139267 h 1108143"/>
              <a:gd name="connsiteX3" fmla="*/ 1128737 w 1200532"/>
              <a:gd name="connsiteY3" fmla="*/ 196024 h 1108143"/>
              <a:gd name="connsiteX4" fmla="*/ 1200532 w 1200532"/>
              <a:gd name="connsiteY4" fmla="*/ 305577 h 1108143"/>
              <a:gd name="connsiteX5" fmla="*/ 280254 w 1200532"/>
              <a:gd name="connsiteY5" fmla="*/ 1108143 h 1108143"/>
              <a:gd name="connsiteX6" fmla="*/ 104342 w 1200532"/>
              <a:gd name="connsiteY6" fmla="*/ 858466 h 1108143"/>
              <a:gd name="connsiteX7" fmla="*/ 87453 w 1200532"/>
              <a:gd name="connsiteY7" fmla="*/ 832334 h 1108143"/>
              <a:gd name="connsiteX8" fmla="*/ 82607 w 1200532"/>
              <a:gd name="connsiteY8" fmla="*/ 807464 h 1108143"/>
              <a:gd name="connsiteX9" fmla="*/ 66635 w 1200532"/>
              <a:gd name="connsiteY9" fmla="*/ 759242 h 1108143"/>
              <a:gd name="connsiteX10" fmla="*/ 35807 w 1200532"/>
              <a:gd name="connsiteY10" fmla="*/ 713409 h 1108143"/>
              <a:gd name="connsiteX11" fmla="*/ 22702 w 1200532"/>
              <a:gd name="connsiteY11" fmla="*/ 645443 h 1108143"/>
              <a:gd name="connsiteX12" fmla="*/ 873 w 1200532"/>
              <a:gd name="connsiteY12" fmla="*/ 546967 h 1108143"/>
              <a:gd name="connsiteX13" fmla="*/ 9872 w 1200532"/>
              <a:gd name="connsiteY13" fmla="*/ 470262 h 1108143"/>
              <a:gd name="connsiteX14" fmla="*/ 0 w 1200532"/>
              <a:gd name="connsiteY14" fmla="*/ 373493 h 1108143"/>
              <a:gd name="connsiteX15" fmla="*/ 6948 w 1200532"/>
              <a:gd name="connsiteY15" fmla="*/ 273501 h 1108143"/>
              <a:gd name="connsiteX16" fmla="*/ 23190 w 1200532"/>
              <a:gd name="connsiteY16" fmla="*/ 195749 h 1108143"/>
              <a:gd name="connsiteX17" fmla="*/ 61233 w 1200532"/>
              <a:gd name="connsiteY17" fmla="*/ 91075 h 1108143"/>
              <a:gd name="connsiteX18" fmla="*/ 101940 w 1200532"/>
              <a:gd name="connsiteY18" fmla="*/ 15013 h 1108143"/>
              <a:gd name="connsiteX19" fmla="*/ 1148718 w 1200532"/>
              <a:gd name="connsiteY19" fmla="*/ 0 h 1108143"/>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104342 w 1200532"/>
              <a:gd name="connsiteY6" fmla="*/ 858466 h 1149364"/>
              <a:gd name="connsiteX7" fmla="*/ 87453 w 1200532"/>
              <a:gd name="connsiteY7" fmla="*/ 832334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87453 w 1200532"/>
              <a:gd name="connsiteY7" fmla="*/ 832334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59304 h 1149364"/>
              <a:gd name="connsiteX12" fmla="*/ 22702 w 1200532"/>
              <a:gd name="connsiteY12" fmla="*/ 645443 h 1149364"/>
              <a:gd name="connsiteX13" fmla="*/ 873 w 1200532"/>
              <a:gd name="connsiteY13" fmla="*/ 546967 h 1149364"/>
              <a:gd name="connsiteX14" fmla="*/ 9872 w 1200532"/>
              <a:gd name="connsiteY14" fmla="*/ 470262 h 1149364"/>
              <a:gd name="connsiteX15" fmla="*/ 0 w 1200532"/>
              <a:gd name="connsiteY15" fmla="*/ 373493 h 1149364"/>
              <a:gd name="connsiteX16" fmla="*/ 6948 w 1200532"/>
              <a:gd name="connsiteY16" fmla="*/ 273501 h 1149364"/>
              <a:gd name="connsiteX17" fmla="*/ 23190 w 1200532"/>
              <a:gd name="connsiteY17" fmla="*/ 195749 h 1149364"/>
              <a:gd name="connsiteX18" fmla="*/ 61233 w 1200532"/>
              <a:gd name="connsiteY18" fmla="*/ 91075 h 1149364"/>
              <a:gd name="connsiteX19" fmla="*/ 101940 w 1200532"/>
              <a:gd name="connsiteY19" fmla="*/ 15013 h 1149364"/>
              <a:gd name="connsiteX20" fmla="*/ 1148718 w 1200532"/>
              <a:gd name="connsiteY20"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22702 w 1200532"/>
              <a:gd name="connsiteY12" fmla="*/ 645443 h 1149364"/>
              <a:gd name="connsiteX13" fmla="*/ 873 w 1200532"/>
              <a:gd name="connsiteY13" fmla="*/ 546967 h 1149364"/>
              <a:gd name="connsiteX14" fmla="*/ 9872 w 1200532"/>
              <a:gd name="connsiteY14" fmla="*/ 470262 h 1149364"/>
              <a:gd name="connsiteX15" fmla="*/ 0 w 1200532"/>
              <a:gd name="connsiteY15" fmla="*/ 373493 h 1149364"/>
              <a:gd name="connsiteX16" fmla="*/ 6948 w 1200532"/>
              <a:gd name="connsiteY16" fmla="*/ 273501 h 1149364"/>
              <a:gd name="connsiteX17" fmla="*/ 23190 w 1200532"/>
              <a:gd name="connsiteY17" fmla="*/ 195749 h 1149364"/>
              <a:gd name="connsiteX18" fmla="*/ 61233 w 1200532"/>
              <a:gd name="connsiteY18" fmla="*/ 91075 h 1149364"/>
              <a:gd name="connsiteX19" fmla="*/ 101940 w 1200532"/>
              <a:gd name="connsiteY19" fmla="*/ 15013 h 1149364"/>
              <a:gd name="connsiteX20" fmla="*/ 1148718 w 1200532"/>
              <a:gd name="connsiteY20"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9588 w 1200532"/>
              <a:gd name="connsiteY12" fmla="*/ 790939 h 1149364"/>
              <a:gd name="connsiteX13" fmla="*/ 22702 w 1200532"/>
              <a:gd name="connsiteY13" fmla="*/ 645443 h 1149364"/>
              <a:gd name="connsiteX14" fmla="*/ 873 w 1200532"/>
              <a:gd name="connsiteY14" fmla="*/ 546967 h 1149364"/>
              <a:gd name="connsiteX15" fmla="*/ 9872 w 1200532"/>
              <a:gd name="connsiteY15" fmla="*/ 470262 h 1149364"/>
              <a:gd name="connsiteX16" fmla="*/ 0 w 1200532"/>
              <a:gd name="connsiteY16" fmla="*/ 373493 h 1149364"/>
              <a:gd name="connsiteX17" fmla="*/ 6948 w 1200532"/>
              <a:gd name="connsiteY17" fmla="*/ 273501 h 1149364"/>
              <a:gd name="connsiteX18" fmla="*/ 23190 w 1200532"/>
              <a:gd name="connsiteY18" fmla="*/ 195749 h 1149364"/>
              <a:gd name="connsiteX19" fmla="*/ 61233 w 1200532"/>
              <a:gd name="connsiteY19" fmla="*/ 91075 h 1149364"/>
              <a:gd name="connsiteX20" fmla="*/ 101940 w 1200532"/>
              <a:gd name="connsiteY20" fmla="*/ 15013 h 1149364"/>
              <a:gd name="connsiteX21" fmla="*/ 1148718 w 1200532"/>
              <a:gd name="connsiteY21"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22702 w 1200532"/>
              <a:gd name="connsiteY13" fmla="*/ 645443 h 1149364"/>
              <a:gd name="connsiteX14" fmla="*/ 873 w 1200532"/>
              <a:gd name="connsiteY14" fmla="*/ 546967 h 1149364"/>
              <a:gd name="connsiteX15" fmla="*/ 9872 w 1200532"/>
              <a:gd name="connsiteY15" fmla="*/ 470262 h 1149364"/>
              <a:gd name="connsiteX16" fmla="*/ 0 w 1200532"/>
              <a:gd name="connsiteY16" fmla="*/ 373493 h 1149364"/>
              <a:gd name="connsiteX17" fmla="*/ 6948 w 1200532"/>
              <a:gd name="connsiteY17" fmla="*/ 273501 h 1149364"/>
              <a:gd name="connsiteX18" fmla="*/ 23190 w 1200532"/>
              <a:gd name="connsiteY18" fmla="*/ 195749 h 1149364"/>
              <a:gd name="connsiteX19" fmla="*/ 61233 w 1200532"/>
              <a:gd name="connsiteY19" fmla="*/ 91075 h 1149364"/>
              <a:gd name="connsiteX20" fmla="*/ 101940 w 1200532"/>
              <a:gd name="connsiteY20" fmla="*/ 15013 h 1149364"/>
              <a:gd name="connsiteX21" fmla="*/ 1148718 w 1200532"/>
              <a:gd name="connsiteY21"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50450 w 1200532"/>
              <a:gd name="connsiteY13" fmla="*/ 725590 h 1149364"/>
              <a:gd name="connsiteX14" fmla="*/ 22702 w 1200532"/>
              <a:gd name="connsiteY14" fmla="*/ 645443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22702 w 1200532"/>
              <a:gd name="connsiteY14" fmla="*/ 645443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17404 w 1200532"/>
              <a:gd name="connsiteY14" fmla="*/ 647454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17404 w 1200532"/>
              <a:gd name="connsiteY14" fmla="*/ 647454 h 1149364"/>
              <a:gd name="connsiteX15" fmla="*/ 873 w 1200532"/>
              <a:gd name="connsiteY15" fmla="*/ 557021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54739 w 1206553"/>
              <a:gd name="connsiteY0" fmla="*/ 0 h 1149364"/>
              <a:gd name="connsiteX1" fmla="*/ 1132184 w 1206553"/>
              <a:gd name="connsiteY1" fmla="*/ 82082 h 1149364"/>
              <a:gd name="connsiteX2" fmla="*/ 1122639 w 1206553"/>
              <a:gd name="connsiteY2" fmla="*/ 139267 h 1149364"/>
              <a:gd name="connsiteX3" fmla="*/ 1134758 w 1206553"/>
              <a:gd name="connsiteY3" fmla="*/ 196024 h 1149364"/>
              <a:gd name="connsiteX4" fmla="*/ 1206553 w 1206553"/>
              <a:gd name="connsiteY4" fmla="*/ 305577 h 1149364"/>
              <a:gd name="connsiteX5" fmla="*/ 339253 w 1206553"/>
              <a:gd name="connsiteY5" fmla="*/ 1149364 h 1149364"/>
              <a:gd name="connsiteX6" fmla="*/ 283865 w 1206553"/>
              <a:gd name="connsiteY6" fmla="*/ 1092718 h 1149364"/>
              <a:gd name="connsiteX7" fmla="*/ 243136 w 1206553"/>
              <a:gd name="connsiteY7" fmla="*/ 1048489 h 1149364"/>
              <a:gd name="connsiteX8" fmla="*/ 211802 w 1206553"/>
              <a:gd name="connsiteY8" fmla="*/ 1013565 h 1149364"/>
              <a:gd name="connsiteX9" fmla="*/ 181261 w 1206553"/>
              <a:gd name="connsiteY9" fmla="*/ 973386 h 1149364"/>
              <a:gd name="connsiteX10" fmla="*/ 150432 w 1206553"/>
              <a:gd name="connsiteY10" fmla="*/ 926548 h 1149364"/>
              <a:gd name="connsiteX11" fmla="*/ 122693 w 1206553"/>
              <a:gd name="connsiteY11" fmla="*/ 876396 h 1149364"/>
              <a:gd name="connsiteX12" fmla="*/ 76338 w 1206553"/>
              <a:gd name="connsiteY12" fmla="*/ 793955 h 1149364"/>
              <a:gd name="connsiteX13" fmla="*/ 49848 w 1206553"/>
              <a:gd name="connsiteY13" fmla="*/ 725590 h 1149364"/>
              <a:gd name="connsiteX14" fmla="*/ 23425 w 1206553"/>
              <a:gd name="connsiteY14" fmla="*/ 647454 h 1149364"/>
              <a:gd name="connsiteX15" fmla="*/ 6894 w 1206553"/>
              <a:gd name="connsiteY15" fmla="*/ 557021 h 1149364"/>
              <a:gd name="connsiteX16" fmla="*/ 0 w 1206553"/>
              <a:gd name="connsiteY16" fmla="*/ 490369 h 1149364"/>
              <a:gd name="connsiteX17" fmla="*/ 6021 w 1206553"/>
              <a:gd name="connsiteY17" fmla="*/ 373493 h 1149364"/>
              <a:gd name="connsiteX18" fmla="*/ 12969 w 1206553"/>
              <a:gd name="connsiteY18" fmla="*/ 273501 h 1149364"/>
              <a:gd name="connsiteX19" fmla="*/ 29211 w 1206553"/>
              <a:gd name="connsiteY19" fmla="*/ 195749 h 1149364"/>
              <a:gd name="connsiteX20" fmla="*/ 67254 w 1206553"/>
              <a:gd name="connsiteY20" fmla="*/ 91075 h 1149364"/>
              <a:gd name="connsiteX21" fmla="*/ 107961 w 1206553"/>
              <a:gd name="connsiteY21" fmla="*/ 15013 h 1149364"/>
              <a:gd name="connsiteX22" fmla="*/ 1154739 w 1206553"/>
              <a:gd name="connsiteY22" fmla="*/ 0 h 1149364"/>
              <a:gd name="connsiteX0" fmla="*/ 1154739 w 1206553"/>
              <a:gd name="connsiteY0" fmla="*/ 0 h 1149364"/>
              <a:gd name="connsiteX1" fmla="*/ 1132184 w 1206553"/>
              <a:gd name="connsiteY1" fmla="*/ 82082 h 1149364"/>
              <a:gd name="connsiteX2" fmla="*/ 1122639 w 1206553"/>
              <a:gd name="connsiteY2" fmla="*/ 139267 h 1149364"/>
              <a:gd name="connsiteX3" fmla="*/ 1134758 w 1206553"/>
              <a:gd name="connsiteY3" fmla="*/ 196024 h 1149364"/>
              <a:gd name="connsiteX4" fmla="*/ 1206553 w 1206553"/>
              <a:gd name="connsiteY4" fmla="*/ 305577 h 1149364"/>
              <a:gd name="connsiteX5" fmla="*/ 339253 w 1206553"/>
              <a:gd name="connsiteY5" fmla="*/ 1149364 h 1149364"/>
              <a:gd name="connsiteX6" fmla="*/ 283865 w 1206553"/>
              <a:gd name="connsiteY6" fmla="*/ 1092718 h 1149364"/>
              <a:gd name="connsiteX7" fmla="*/ 243136 w 1206553"/>
              <a:gd name="connsiteY7" fmla="*/ 1048489 h 1149364"/>
              <a:gd name="connsiteX8" fmla="*/ 211802 w 1206553"/>
              <a:gd name="connsiteY8" fmla="*/ 1013565 h 1149364"/>
              <a:gd name="connsiteX9" fmla="*/ 181261 w 1206553"/>
              <a:gd name="connsiteY9" fmla="*/ 973386 h 1149364"/>
              <a:gd name="connsiteX10" fmla="*/ 150432 w 1206553"/>
              <a:gd name="connsiteY10" fmla="*/ 926548 h 1149364"/>
              <a:gd name="connsiteX11" fmla="*/ 122693 w 1206553"/>
              <a:gd name="connsiteY11" fmla="*/ 876396 h 1149364"/>
              <a:gd name="connsiteX12" fmla="*/ 76338 w 1206553"/>
              <a:gd name="connsiteY12" fmla="*/ 793955 h 1149364"/>
              <a:gd name="connsiteX13" fmla="*/ 49848 w 1206553"/>
              <a:gd name="connsiteY13" fmla="*/ 725590 h 1149364"/>
              <a:gd name="connsiteX14" fmla="*/ 23425 w 1206553"/>
              <a:gd name="connsiteY14" fmla="*/ 647454 h 1149364"/>
              <a:gd name="connsiteX15" fmla="*/ 6894 w 1206553"/>
              <a:gd name="connsiteY15" fmla="*/ 557021 h 1149364"/>
              <a:gd name="connsiteX16" fmla="*/ 0 w 1206553"/>
              <a:gd name="connsiteY16" fmla="*/ 490369 h 1149364"/>
              <a:gd name="connsiteX17" fmla="*/ 4817 w 1206553"/>
              <a:gd name="connsiteY17" fmla="*/ 418952 h 1149364"/>
              <a:gd name="connsiteX18" fmla="*/ 6021 w 1206553"/>
              <a:gd name="connsiteY18" fmla="*/ 373493 h 1149364"/>
              <a:gd name="connsiteX19" fmla="*/ 12969 w 1206553"/>
              <a:gd name="connsiteY19" fmla="*/ 273501 h 1149364"/>
              <a:gd name="connsiteX20" fmla="*/ 29211 w 1206553"/>
              <a:gd name="connsiteY20" fmla="*/ 195749 h 1149364"/>
              <a:gd name="connsiteX21" fmla="*/ 67254 w 1206553"/>
              <a:gd name="connsiteY21" fmla="*/ 91075 h 1149364"/>
              <a:gd name="connsiteX22" fmla="*/ 107961 w 1206553"/>
              <a:gd name="connsiteY22" fmla="*/ 15013 h 1149364"/>
              <a:gd name="connsiteX23" fmla="*/ 1154739 w 1206553"/>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7826 w 1208358"/>
              <a:gd name="connsiteY18" fmla="*/ 373493 h 1149364"/>
              <a:gd name="connsiteX19" fmla="*/ 14774 w 1208358"/>
              <a:gd name="connsiteY19" fmla="*/ 273501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4774 w 1208358"/>
              <a:gd name="connsiteY19" fmla="*/ 273501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5627 w 1208358"/>
              <a:gd name="connsiteY21" fmla="*/ 131415 h 1149364"/>
              <a:gd name="connsiteX22" fmla="*/ 69059 w 1208358"/>
              <a:gd name="connsiteY22" fmla="*/ 91075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9059 w 1208358"/>
              <a:gd name="connsiteY22" fmla="*/ 91075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95360 w 1208358"/>
              <a:gd name="connsiteY23" fmla="*/ 38921 h 1149364"/>
              <a:gd name="connsiteX24" fmla="*/ 109766 w 1208358"/>
              <a:gd name="connsiteY24" fmla="*/ 15013 h 1149364"/>
              <a:gd name="connsiteX25" fmla="*/ 1156544 w 1208358"/>
              <a:gd name="connsiteY25"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88738 w 1208358"/>
              <a:gd name="connsiteY23" fmla="*/ 38921 h 1149364"/>
              <a:gd name="connsiteX24" fmla="*/ 109766 w 1208358"/>
              <a:gd name="connsiteY24" fmla="*/ 15013 h 1149364"/>
              <a:gd name="connsiteX25" fmla="*/ 1156544 w 1208358"/>
              <a:gd name="connsiteY25"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88738 w 1208358"/>
              <a:gd name="connsiteY23" fmla="*/ 38921 h 1149364"/>
              <a:gd name="connsiteX24" fmla="*/ 113739 w 1208358"/>
              <a:gd name="connsiteY24" fmla="*/ 9986 h 1149364"/>
              <a:gd name="connsiteX25" fmla="*/ 1156544 w 1208358"/>
              <a:gd name="connsiteY25"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311665 w 1311665"/>
              <a:gd name="connsiteY4" fmla="*/ 369921 h 1149364"/>
              <a:gd name="connsiteX5" fmla="*/ 341058 w 1311665"/>
              <a:gd name="connsiteY5" fmla="*/ 1149364 h 1149364"/>
              <a:gd name="connsiteX6" fmla="*/ 285670 w 1311665"/>
              <a:gd name="connsiteY6" fmla="*/ 1092718 h 1149364"/>
              <a:gd name="connsiteX7" fmla="*/ 244941 w 1311665"/>
              <a:gd name="connsiteY7" fmla="*/ 1048489 h 1149364"/>
              <a:gd name="connsiteX8" fmla="*/ 213607 w 1311665"/>
              <a:gd name="connsiteY8" fmla="*/ 1013565 h 1149364"/>
              <a:gd name="connsiteX9" fmla="*/ 183066 w 1311665"/>
              <a:gd name="connsiteY9" fmla="*/ 973386 h 1149364"/>
              <a:gd name="connsiteX10" fmla="*/ 152237 w 1311665"/>
              <a:gd name="connsiteY10" fmla="*/ 926548 h 1149364"/>
              <a:gd name="connsiteX11" fmla="*/ 124498 w 1311665"/>
              <a:gd name="connsiteY11" fmla="*/ 876396 h 1149364"/>
              <a:gd name="connsiteX12" fmla="*/ 78143 w 1311665"/>
              <a:gd name="connsiteY12" fmla="*/ 793955 h 1149364"/>
              <a:gd name="connsiteX13" fmla="*/ 51653 w 1311665"/>
              <a:gd name="connsiteY13" fmla="*/ 725590 h 1149364"/>
              <a:gd name="connsiteX14" fmla="*/ 25230 w 1311665"/>
              <a:gd name="connsiteY14" fmla="*/ 647454 h 1149364"/>
              <a:gd name="connsiteX15" fmla="*/ 8699 w 1311665"/>
              <a:gd name="connsiteY15" fmla="*/ 557021 h 1149364"/>
              <a:gd name="connsiteX16" fmla="*/ 1805 w 1311665"/>
              <a:gd name="connsiteY16" fmla="*/ 490369 h 1149364"/>
              <a:gd name="connsiteX17" fmla="*/ 0 w 1311665"/>
              <a:gd name="connsiteY17" fmla="*/ 418952 h 1149364"/>
              <a:gd name="connsiteX18" fmla="*/ 3853 w 1311665"/>
              <a:gd name="connsiteY18" fmla="*/ 358413 h 1149364"/>
              <a:gd name="connsiteX19" fmla="*/ 12125 w 1311665"/>
              <a:gd name="connsiteY19" fmla="*/ 270485 h 1149364"/>
              <a:gd name="connsiteX20" fmla="*/ 28367 w 1311665"/>
              <a:gd name="connsiteY20" fmla="*/ 198765 h 1149364"/>
              <a:gd name="connsiteX21" fmla="*/ 51654 w 1311665"/>
              <a:gd name="connsiteY21" fmla="*/ 127394 h 1149364"/>
              <a:gd name="connsiteX22" fmla="*/ 66410 w 1311665"/>
              <a:gd name="connsiteY22" fmla="*/ 88059 h 1149364"/>
              <a:gd name="connsiteX23" fmla="*/ 88738 w 1311665"/>
              <a:gd name="connsiteY23" fmla="*/ 38921 h 1149364"/>
              <a:gd name="connsiteX24" fmla="*/ 113739 w 1311665"/>
              <a:gd name="connsiteY24" fmla="*/ 9986 h 1149364"/>
              <a:gd name="connsiteX25" fmla="*/ 1156544 w 1311665"/>
              <a:gd name="connsiteY25"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41005 w 1311665"/>
              <a:gd name="connsiteY4" fmla="*/ 297301 h 1149364"/>
              <a:gd name="connsiteX5" fmla="*/ 1311665 w 1311665"/>
              <a:gd name="connsiteY5" fmla="*/ 369921 h 1149364"/>
              <a:gd name="connsiteX6" fmla="*/ 341058 w 1311665"/>
              <a:gd name="connsiteY6" fmla="*/ 1149364 h 1149364"/>
              <a:gd name="connsiteX7" fmla="*/ 285670 w 1311665"/>
              <a:gd name="connsiteY7" fmla="*/ 1092718 h 1149364"/>
              <a:gd name="connsiteX8" fmla="*/ 244941 w 1311665"/>
              <a:gd name="connsiteY8" fmla="*/ 1048489 h 1149364"/>
              <a:gd name="connsiteX9" fmla="*/ 213607 w 1311665"/>
              <a:gd name="connsiteY9" fmla="*/ 1013565 h 1149364"/>
              <a:gd name="connsiteX10" fmla="*/ 183066 w 1311665"/>
              <a:gd name="connsiteY10" fmla="*/ 973386 h 1149364"/>
              <a:gd name="connsiteX11" fmla="*/ 152237 w 1311665"/>
              <a:gd name="connsiteY11" fmla="*/ 926548 h 1149364"/>
              <a:gd name="connsiteX12" fmla="*/ 124498 w 1311665"/>
              <a:gd name="connsiteY12" fmla="*/ 876396 h 1149364"/>
              <a:gd name="connsiteX13" fmla="*/ 78143 w 1311665"/>
              <a:gd name="connsiteY13" fmla="*/ 793955 h 1149364"/>
              <a:gd name="connsiteX14" fmla="*/ 51653 w 1311665"/>
              <a:gd name="connsiteY14" fmla="*/ 725590 h 1149364"/>
              <a:gd name="connsiteX15" fmla="*/ 25230 w 1311665"/>
              <a:gd name="connsiteY15" fmla="*/ 647454 h 1149364"/>
              <a:gd name="connsiteX16" fmla="*/ 8699 w 1311665"/>
              <a:gd name="connsiteY16" fmla="*/ 557021 h 1149364"/>
              <a:gd name="connsiteX17" fmla="*/ 1805 w 1311665"/>
              <a:gd name="connsiteY17" fmla="*/ 490369 h 1149364"/>
              <a:gd name="connsiteX18" fmla="*/ 0 w 1311665"/>
              <a:gd name="connsiteY18" fmla="*/ 418952 h 1149364"/>
              <a:gd name="connsiteX19" fmla="*/ 3853 w 1311665"/>
              <a:gd name="connsiteY19" fmla="*/ 358413 h 1149364"/>
              <a:gd name="connsiteX20" fmla="*/ 12125 w 1311665"/>
              <a:gd name="connsiteY20" fmla="*/ 270485 h 1149364"/>
              <a:gd name="connsiteX21" fmla="*/ 28367 w 1311665"/>
              <a:gd name="connsiteY21" fmla="*/ 198765 h 1149364"/>
              <a:gd name="connsiteX22" fmla="*/ 51654 w 1311665"/>
              <a:gd name="connsiteY22" fmla="*/ 127394 h 1149364"/>
              <a:gd name="connsiteX23" fmla="*/ 66410 w 1311665"/>
              <a:gd name="connsiteY23" fmla="*/ 88059 h 1149364"/>
              <a:gd name="connsiteX24" fmla="*/ 88738 w 1311665"/>
              <a:gd name="connsiteY24" fmla="*/ 38921 h 1149364"/>
              <a:gd name="connsiteX25" fmla="*/ 113739 w 1311665"/>
              <a:gd name="connsiteY25" fmla="*/ 9986 h 1149364"/>
              <a:gd name="connsiteX26" fmla="*/ 1156544 w 1311665"/>
              <a:gd name="connsiteY26"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56898 w 1311665"/>
              <a:gd name="connsiteY4" fmla="*/ 332489 h 1149364"/>
              <a:gd name="connsiteX5" fmla="*/ 1311665 w 1311665"/>
              <a:gd name="connsiteY5" fmla="*/ 369921 h 1149364"/>
              <a:gd name="connsiteX6" fmla="*/ 341058 w 1311665"/>
              <a:gd name="connsiteY6" fmla="*/ 1149364 h 1149364"/>
              <a:gd name="connsiteX7" fmla="*/ 285670 w 1311665"/>
              <a:gd name="connsiteY7" fmla="*/ 1092718 h 1149364"/>
              <a:gd name="connsiteX8" fmla="*/ 244941 w 1311665"/>
              <a:gd name="connsiteY8" fmla="*/ 1048489 h 1149364"/>
              <a:gd name="connsiteX9" fmla="*/ 213607 w 1311665"/>
              <a:gd name="connsiteY9" fmla="*/ 1013565 h 1149364"/>
              <a:gd name="connsiteX10" fmla="*/ 183066 w 1311665"/>
              <a:gd name="connsiteY10" fmla="*/ 973386 h 1149364"/>
              <a:gd name="connsiteX11" fmla="*/ 152237 w 1311665"/>
              <a:gd name="connsiteY11" fmla="*/ 926548 h 1149364"/>
              <a:gd name="connsiteX12" fmla="*/ 124498 w 1311665"/>
              <a:gd name="connsiteY12" fmla="*/ 876396 h 1149364"/>
              <a:gd name="connsiteX13" fmla="*/ 78143 w 1311665"/>
              <a:gd name="connsiteY13" fmla="*/ 793955 h 1149364"/>
              <a:gd name="connsiteX14" fmla="*/ 51653 w 1311665"/>
              <a:gd name="connsiteY14" fmla="*/ 725590 h 1149364"/>
              <a:gd name="connsiteX15" fmla="*/ 25230 w 1311665"/>
              <a:gd name="connsiteY15" fmla="*/ 647454 h 1149364"/>
              <a:gd name="connsiteX16" fmla="*/ 8699 w 1311665"/>
              <a:gd name="connsiteY16" fmla="*/ 557021 h 1149364"/>
              <a:gd name="connsiteX17" fmla="*/ 1805 w 1311665"/>
              <a:gd name="connsiteY17" fmla="*/ 490369 h 1149364"/>
              <a:gd name="connsiteX18" fmla="*/ 0 w 1311665"/>
              <a:gd name="connsiteY18" fmla="*/ 418952 h 1149364"/>
              <a:gd name="connsiteX19" fmla="*/ 3853 w 1311665"/>
              <a:gd name="connsiteY19" fmla="*/ 358413 h 1149364"/>
              <a:gd name="connsiteX20" fmla="*/ 12125 w 1311665"/>
              <a:gd name="connsiteY20" fmla="*/ 270485 h 1149364"/>
              <a:gd name="connsiteX21" fmla="*/ 28367 w 1311665"/>
              <a:gd name="connsiteY21" fmla="*/ 198765 h 1149364"/>
              <a:gd name="connsiteX22" fmla="*/ 51654 w 1311665"/>
              <a:gd name="connsiteY22" fmla="*/ 127394 h 1149364"/>
              <a:gd name="connsiteX23" fmla="*/ 66410 w 1311665"/>
              <a:gd name="connsiteY23" fmla="*/ 88059 h 1149364"/>
              <a:gd name="connsiteX24" fmla="*/ 88738 w 1311665"/>
              <a:gd name="connsiteY24" fmla="*/ 38921 h 1149364"/>
              <a:gd name="connsiteX25" fmla="*/ 113739 w 1311665"/>
              <a:gd name="connsiteY25" fmla="*/ 9986 h 1149364"/>
              <a:gd name="connsiteX26" fmla="*/ 1156544 w 1311665"/>
              <a:gd name="connsiteY26"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05245 w 1311665"/>
              <a:gd name="connsiteY4" fmla="*/ 278199 h 1149364"/>
              <a:gd name="connsiteX5" fmla="*/ 1256898 w 1311665"/>
              <a:gd name="connsiteY5" fmla="*/ 332489 h 1149364"/>
              <a:gd name="connsiteX6" fmla="*/ 1311665 w 1311665"/>
              <a:gd name="connsiteY6" fmla="*/ 369921 h 1149364"/>
              <a:gd name="connsiteX7" fmla="*/ 341058 w 1311665"/>
              <a:gd name="connsiteY7" fmla="*/ 1149364 h 1149364"/>
              <a:gd name="connsiteX8" fmla="*/ 285670 w 1311665"/>
              <a:gd name="connsiteY8" fmla="*/ 1092718 h 1149364"/>
              <a:gd name="connsiteX9" fmla="*/ 244941 w 1311665"/>
              <a:gd name="connsiteY9" fmla="*/ 1048489 h 1149364"/>
              <a:gd name="connsiteX10" fmla="*/ 213607 w 1311665"/>
              <a:gd name="connsiteY10" fmla="*/ 1013565 h 1149364"/>
              <a:gd name="connsiteX11" fmla="*/ 183066 w 1311665"/>
              <a:gd name="connsiteY11" fmla="*/ 973386 h 1149364"/>
              <a:gd name="connsiteX12" fmla="*/ 152237 w 1311665"/>
              <a:gd name="connsiteY12" fmla="*/ 926548 h 1149364"/>
              <a:gd name="connsiteX13" fmla="*/ 124498 w 1311665"/>
              <a:gd name="connsiteY13" fmla="*/ 876396 h 1149364"/>
              <a:gd name="connsiteX14" fmla="*/ 78143 w 1311665"/>
              <a:gd name="connsiteY14" fmla="*/ 793955 h 1149364"/>
              <a:gd name="connsiteX15" fmla="*/ 51653 w 1311665"/>
              <a:gd name="connsiteY15" fmla="*/ 725590 h 1149364"/>
              <a:gd name="connsiteX16" fmla="*/ 25230 w 1311665"/>
              <a:gd name="connsiteY16" fmla="*/ 647454 h 1149364"/>
              <a:gd name="connsiteX17" fmla="*/ 8699 w 1311665"/>
              <a:gd name="connsiteY17" fmla="*/ 557021 h 1149364"/>
              <a:gd name="connsiteX18" fmla="*/ 1805 w 1311665"/>
              <a:gd name="connsiteY18" fmla="*/ 490369 h 1149364"/>
              <a:gd name="connsiteX19" fmla="*/ 0 w 1311665"/>
              <a:gd name="connsiteY19" fmla="*/ 418952 h 1149364"/>
              <a:gd name="connsiteX20" fmla="*/ 3853 w 1311665"/>
              <a:gd name="connsiteY20" fmla="*/ 358413 h 1149364"/>
              <a:gd name="connsiteX21" fmla="*/ 12125 w 1311665"/>
              <a:gd name="connsiteY21" fmla="*/ 270485 h 1149364"/>
              <a:gd name="connsiteX22" fmla="*/ 28367 w 1311665"/>
              <a:gd name="connsiteY22" fmla="*/ 198765 h 1149364"/>
              <a:gd name="connsiteX23" fmla="*/ 51654 w 1311665"/>
              <a:gd name="connsiteY23" fmla="*/ 127394 h 1149364"/>
              <a:gd name="connsiteX24" fmla="*/ 66410 w 1311665"/>
              <a:gd name="connsiteY24" fmla="*/ 88059 h 1149364"/>
              <a:gd name="connsiteX25" fmla="*/ 88738 w 1311665"/>
              <a:gd name="connsiteY25" fmla="*/ 38921 h 1149364"/>
              <a:gd name="connsiteX26" fmla="*/ 113739 w 1311665"/>
              <a:gd name="connsiteY26" fmla="*/ 9986 h 1149364"/>
              <a:gd name="connsiteX27" fmla="*/ 1156544 w 1311665"/>
              <a:gd name="connsiteY27"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02596 w 1311665"/>
              <a:gd name="connsiteY4" fmla="*/ 288253 h 1149364"/>
              <a:gd name="connsiteX5" fmla="*/ 1256898 w 1311665"/>
              <a:gd name="connsiteY5" fmla="*/ 332489 h 1149364"/>
              <a:gd name="connsiteX6" fmla="*/ 1311665 w 1311665"/>
              <a:gd name="connsiteY6" fmla="*/ 369921 h 1149364"/>
              <a:gd name="connsiteX7" fmla="*/ 341058 w 1311665"/>
              <a:gd name="connsiteY7" fmla="*/ 1149364 h 1149364"/>
              <a:gd name="connsiteX8" fmla="*/ 285670 w 1311665"/>
              <a:gd name="connsiteY8" fmla="*/ 1092718 h 1149364"/>
              <a:gd name="connsiteX9" fmla="*/ 244941 w 1311665"/>
              <a:gd name="connsiteY9" fmla="*/ 1048489 h 1149364"/>
              <a:gd name="connsiteX10" fmla="*/ 213607 w 1311665"/>
              <a:gd name="connsiteY10" fmla="*/ 1013565 h 1149364"/>
              <a:gd name="connsiteX11" fmla="*/ 183066 w 1311665"/>
              <a:gd name="connsiteY11" fmla="*/ 973386 h 1149364"/>
              <a:gd name="connsiteX12" fmla="*/ 152237 w 1311665"/>
              <a:gd name="connsiteY12" fmla="*/ 926548 h 1149364"/>
              <a:gd name="connsiteX13" fmla="*/ 124498 w 1311665"/>
              <a:gd name="connsiteY13" fmla="*/ 876396 h 1149364"/>
              <a:gd name="connsiteX14" fmla="*/ 78143 w 1311665"/>
              <a:gd name="connsiteY14" fmla="*/ 793955 h 1149364"/>
              <a:gd name="connsiteX15" fmla="*/ 51653 w 1311665"/>
              <a:gd name="connsiteY15" fmla="*/ 725590 h 1149364"/>
              <a:gd name="connsiteX16" fmla="*/ 25230 w 1311665"/>
              <a:gd name="connsiteY16" fmla="*/ 647454 h 1149364"/>
              <a:gd name="connsiteX17" fmla="*/ 8699 w 1311665"/>
              <a:gd name="connsiteY17" fmla="*/ 557021 h 1149364"/>
              <a:gd name="connsiteX18" fmla="*/ 1805 w 1311665"/>
              <a:gd name="connsiteY18" fmla="*/ 490369 h 1149364"/>
              <a:gd name="connsiteX19" fmla="*/ 0 w 1311665"/>
              <a:gd name="connsiteY19" fmla="*/ 418952 h 1149364"/>
              <a:gd name="connsiteX20" fmla="*/ 3853 w 1311665"/>
              <a:gd name="connsiteY20" fmla="*/ 358413 h 1149364"/>
              <a:gd name="connsiteX21" fmla="*/ 12125 w 1311665"/>
              <a:gd name="connsiteY21" fmla="*/ 270485 h 1149364"/>
              <a:gd name="connsiteX22" fmla="*/ 28367 w 1311665"/>
              <a:gd name="connsiteY22" fmla="*/ 198765 h 1149364"/>
              <a:gd name="connsiteX23" fmla="*/ 51654 w 1311665"/>
              <a:gd name="connsiteY23" fmla="*/ 127394 h 1149364"/>
              <a:gd name="connsiteX24" fmla="*/ 66410 w 1311665"/>
              <a:gd name="connsiteY24" fmla="*/ 88059 h 1149364"/>
              <a:gd name="connsiteX25" fmla="*/ 88738 w 1311665"/>
              <a:gd name="connsiteY25" fmla="*/ 38921 h 1149364"/>
              <a:gd name="connsiteX26" fmla="*/ 113739 w 1311665"/>
              <a:gd name="connsiteY26" fmla="*/ 9986 h 1149364"/>
              <a:gd name="connsiteX27" fmla="*/ 1156544 w 1311665"/>
              <a:gd name="connsiteY27"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170810 w 1311665"/>
              <a:gd name="connsiteY4" fmla="*/ 245022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170810 w 1311665"/>
              <a:gd name="connsiteY4" fmla="*/ 251055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44510 w 1311665"/>
              <a:gd name="connsiteY3" fmla="*/ 203062 h 1149364"/>
              <a:gd name="connsiteX4" fmla="*/ 1170810 w 1311665"/>
              <a:gd name="connsiteY4" fmla="*/ 251055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33989 w 1311665"/>
              <a:gd name="connsiteY1" fmla="*/ 82082 h 1149364"/>
              <a:gd name="connsiteX2" fmla="*/ 1129742 w 1311665"/>
              <a:gd name="connsiteY2" fmla="*/ 130219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28691 w 1311665"/>
              <a:gd name="connsiteY1" fmla="*/ 82082 h 1149364"/>
              <a:gd name="connsiteX2" fmla="*/ 1129742 w 1311665"/>
              <a:gd name="connsiteY2" fmla="*/ 130219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45645 w 1311665"/>
              <a:gd name="connsiteY1" fmla="*/ 36910 h 1149364"/>
              <a:gd name="connsiteX2" fmla="*/ 1128691 w 1311665"/>
              <a:gd name="connsiteY2" fmla="*/ 82082 h 1149364"/>
              <a:gd name="connsiteX3" fmla="*/ 1129742 w 1311665"/>
              <a:gd name="connsiteY3" fmla="*/ 130219 h 1149364"/>
              <a:gd name="connsiteX4" fmla="*/ 1133725 w 1311665"/>
              <a:gd name="connsiteY4" fmla="*/ 163587 h 1149364"/>
              <a:gd name="connsiteX5" fmla="*/ 1144510 w 1311665"/>
              <a:gd name="connsiteY5" fmla="*/ 203062 h 1149364"/>
              <a:gd name="connsiteX6" fmla="*/ 1170810 w 1311665"/>
              <a:gd name="connsiteY6" fmla="*/ 251055 h 1149364"/>
              <a:gd name="connsiteX7" fmla="*/ 1202596 w 1311665"/>
              <a:gd name="connsiteY7" fmla="*/ 288253 h 1149364"/>
              <a:gd name="connsiteX8" fmla="*/ 1256898 w 1311665"/>
              <a:gd name="connsiteY8" fmla="*/ 332489 h 1149364"/>
              <a:gd name="connsiteX9" fmla="*/ 1311665 w 1311665"/>
              <a:gd name="connsiteY9" fmla="*/ 369921 h 1149364"/>
              <a:gd name="connsiteX10" fmla="*/ 341058 w 1311665"/>
              <a:gd name="connsiteY10" fmla="*/ 1149364 h 1149364"/>
              <a:gd name="connsiteX11" fmla="*/ 285670 w 1311665"/>
              <a:gd name="connsiteY11" fmla="*/ 1092718 h 1149364"/>
              <a:gd name="connsiteX12" fmla="*/ 244941 w 1311665"/>
              <a:gd name="connsiteY12" fmla="*/ 1048489 h 1149364"/>
              <a:gd name="connsiteX13" fmla="*/ 213607 w 1311665"/>
              <a:gd name="connsiteY13" fmla="*/ 1013565 h 1149364"/>
              <a:gd name="connsiteX14" fmla="*/ 183066 w 1311665"/>
              <a:gd name="connsiteY14" fmla="*/ 973386 h 1149364"/>
              <a:gd name="connsiteX15" fmla="*/ 152237 w 1311665"/>
              <a:gd name="connsiteY15" fmla="*/ 926548 h 1149364"/>
              <a:gd name="connsiteX16" fmla="*/ 124498 w 1311665"/>
              <a:gd name="connsiteY16" fmla="*/ 876396 h 1149364"/>
              <a:gd name="connsiteX17" fmla="*/ 78143 w 1311665"/>
              <a:gd name="connsiteY17" fmla="*/ 793955 h 1149364"/>
              <a:gd name="connsiteX18" fmla="*/ 51653 w 1311665"/>
              <a:gd name="connsiteY18" fmla="*/ 725590 h 1149364"/>
              <a:gd name="connsiteX19" fmla="*/ 25230 w 1311665"/>
              <a:gd name="connsiteY19" fmla="*/ 647454 h 1149364"/>
              <a:gd name="connsiteX20" fmla="*/ 8699 w 1311665"/>
              <a:gd name="connsiteY20" fmla="*/ 557021 h 1149364"/>
              <a:gd name="connsiteX21" fmla="*/ 1805 w 1311665"/>
              <a:gd name="connsiteY21" fmla="*/ 490369 h 1149364"/>
              <a:gd name="connsiteX22" fmla="*/ 0 w 1311665"/>
              <a:gd name="connsiteY22" fmla="*/ 418952 h 1149364"/>
              <a:gd name="connsiteX23" fmla="*/ 3853 w 1311665"/>
              <a:gd name="connsiteY23" fmla="*/ 358413 h 1149364"/>
              <a:gd name="connsiteX24" fmla="*/ 12125 w 1311665"/>
              <a:gd name="connsiteY24" fmla="*/ 270485 h 1149364"/>
              <a:gd name="connsiteX25" fmla="*/ 28367 w 1311665"/>
              <a:gd name="connsiteY25" fmla="*/ 198765 h 1149364"/>
              <a:gd name="connsiteX26" fmla="*/ 51654 w 1311665"/>
              <a:gd name="connsiteY26" fmla="*/ 127394 h 1149364"/>
              <a:gd name="connsiteX27" fmla="*/ 66410 w 1311665"/>
              <a:gd name="connsiteY27" fmla="*/ 88059 h 1149364"/>
              <a:gd name="connsiteX28" fmla="*/ 88738 w 1311665"/>
              <a:gd name="connsiteY28" fmla="*/ 38921 h 1149364"/>
              <a:gd name="connsiteX29" fmla="*/ 113739 w 1311665"/>
              <a:gd name="connsiteY29" fmla="*/ 9986 h 1149364"/>
              <a:gd name="connsiteX30" fmla="*/ 1156544 w 1311665"/>
              <a:gd name="connsiteY30" fmla="*/ 0 h 114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1665" h="1149364">
                <a:moveTo>
                  <a:pt x="1156544" y="0"/>
                </a:moveTo>
                <a:lnTo>
                  <a:pt x="1145645" y="36910"/>
                </a:lnTo>
                <a:lnTo>
                  <a:pt x="1128691" y="82082"/>
                </a:lnTo>
                <a:cubicBezTo>
                  <a:pt x="1129041" y="98128"/>
                  <a:pt x="1129392" y="114173"/>
                  <a:pt x="1129742" y="130219"/>
                </a:cubicBezTo>
                <a:lnTo>
                  <a:pt x="1133725" y="163587"/>
                </a:lnTo>
                <a:lnTo>
                  <a:pt x="1144510" y="203062"/>
                </a:lnTo>
                <a:lnTo>
                  <a:pt x="1170810" y="251055"/>
                </a:lnTo>
                <a:lnTo>
                  <a:pt x="1202596" y="288253"/>
                </a:lnTo>
                <a:lnTo>
                  <a:pt x="1256898" y="332489"/>
                </a:lnTo>
                <a:lnTo>
                  <a:pt x="1311665" y="369921"/>
                </a:lnTo>
                <a:lnTo>
                  <a:pt x="341058" y="1149364"/>
                </a:lnTo>
                <a:lnTo>
                  <a:pt x="285670" y="1092718"/>
                </a:lnTo>
                <a:lnTo>
                  <a:pt x="244941" y="1048489"/>
                </a:lnTo>
                <a:lnTo>
                  <a:pt x="213607" y="1013565"/>
                </a:lnTo>
                <a:lnTo>
                  <a:pt x="183066" y="973386"/>
                </a:lnTo>
                <a:lnTo>
                  <a:pt x="152237" y="926548"/>
                </a:lnTo>
                <a:lnTo>
                  <a:pt x="124498" y="876396"/>
                </a:lnTo>
                <a:lnTo>
                  <a:pt x="78143" y="793955"/>
                </a:lnTo>
                <a:lnTo>
                  <a:pt x="51653" y="725590"/>
                </a:lnTo>
                <a:lnTo>
                  <a:pt x="25230" y="647454"/>
                </a:lnTo>
                <a:lnTo>
                  <a:pt x="8699" y="557021"/>
                </a:lnTo>
                <a:lnTo>
                  <a:pt x="1805" y="490369"/>
                </a:lnTo>
                <a:cubicBezTo>
                  <a:pt x="1203" y="466563"/>
                  <a:pt x="602" y="442758"/>
                  <a:pt x="0" y="418952"/>
                </a:cubicBezTo>
                <a:cubicBezTo>
                  <a:pt x="401" y="403799"/>
                  <a:pt x="3452" y="373566"/>
                  <a:pt x="3853" y="358413"/>
                </a:cubicBezTo>
                <a:lnTo>
                  <a:pt x="12125" y="270485"/>
                </a:lnTo>
                <a:lnTo>
                  <a:pt x="28367" y="198765"/>
                </a:lnTo>
                <a:lnTo>
                  <a:pt x="51654" y="127394"/>
                </a:lnTo>
                <a:lnTo>
                  <a:pt x="66410" y="88059"/>
                </a:lnTo>
                <a:lnTo>
                  <a:pt x="88738" y="38921"/>
                </a:lnTo>
                <a:lnTo>
                  <a:pt x="113739" y="9986"/>
                </a:lnTo>
                <a:lnTo>
                  <a:pt x="1156544" y="0"/>
                </a:lnTo>
                <a:close/>
              </a:path>
            </a:pathLst>
          </a:custGeom>
          <a:solidFill>
            <a:srgbClr val="2B4C58">
              <a:alpha val="50000"/>
            </a:srgbClr>
          </a:solidFill>
          <a:ln w="9525" cap="flat" cmpd="sng" algn="ctr">
            <a:solidFill>
              <a:srgbClr val="2B4C58"/>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10" name="Rounded Rectangle 1009"/>
          <p:cNvSpPr/>
          <p:nvPr>
            <p:custDataLst>
              <p:tags r:id="rId13"/>
            </p:custDataLst>
          </p:nvPr>
        </p:nvSpPr>
        <p:spPr>
          <a:xfrm>
            <a:off x="3244221" y="1776601"/>
            <a:ext cx="1041400" cy="774700"/>
          </a:xfrm>
          <a:prstGeom prst="roundRect">
            <a:avLst/>
          </a:prstGeom>
          <a:solidFill>
            <a:schemeClr val="tx1"/>
          </a:solidFill>
          <a:ln w="9525">
            <a:solidFill>
              <a:srgbClr val="2B4C58"/>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Supply chain &amp; logistics</a:t>
            </a:r>
          </a:p>
        </p:txBody>
      </p:sp>
      <p:sp>
        <p:nvSpPr>
          <p:cNvPr id="1011" name="Rounded Rectangle 1010"/>
          <p:cNvSpPr/>
          <p:nvPr>
            <p:custDataLst>
              <p:tags r:id="rId14"/>
            </p:custDataLst>
          </p:nvPr>
        </p:nvSpPr>
        <p:spPr>
          <a:xfrm>
            <a:off x="4040325" y="3414660"/>
            <a:ext cx="1040662" cy="776014"/>
          </a:xfrm>
          <a:prstGeom prst="roundRect">
            <a:avLst/>
          </a:prstGeom>
          <a:solidFill>
            <a:schemeClr val="tx1"/>
          </a:solidFill>
          <a:ln w="9525">
            <a:solidFill>
              <a:srgbClr val="F7CB00"/>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lnSpc>
                <a:spcPts val="1000"/>
              </a:lnSpc>
              <a:spcAft>
                <a:spcPct val="0"/>
              </a:spcAft>
            </a:pPr>
            <a:r>
              <a:rPr lang="en-US" sz="1000" b="1" dirty="0">
                <a:solidFill>
                  <a:srgbClr val="FFFFFF"/>
                </a:solidFill>
              </a:rPr>
              <a:t>Monitoring &amp; use of data</a:t>
            </a:r>
          </a:p>
        </p:txBody>
      </p:sp>
      <p:sp>
        <p:nvSpPr>
          <p:cNvPr id="1012" name="Freeform 1011"/>
          <p:cNvSpPr/>
          <p:nvPr>
            <p:custDataLst>
              <p:tags r:id="rId15"/>
            </p:custDataLst>
          </p:nvPr>
        </p:nvSpPr>
        <p:spPr bwMode="gray">
          <a:xfrm>
            <a:off x="5156022" y="2255322"/>
            <a:ext cx="3707034" cy="3429641"/>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02094" h="1195359">
                <a:moveTo>
                  <a:pt x="414962" y="45279"/>
                </a:moveTo>
                <a:lnTo>
                  <a:pt x="490187" y="51579"/>
                </a:lnTo>
                <a:lnTo>
                  <a:pt x="581971" y="45342"/>
                </a:lnTo>
                <a:lnTo>
                  <a:pt x="648044" y="25945"/>
                </a:lnTo>
                <a:lnTo>
                  <a:pt x="710140" y="0"/>
                </a:lnTo>
                <a:lnTo>
                  <a:pt x="1702094" y="700993"/>
                </a:lnTo>
                <a:lnTo>
                  <a:pt x="1627767" y="780392"/>
                </a:lnTo>
                <a:lnTo>
                  <a:pt x="1526690" y="872051"/>
                </a:lnTo>
                <a:lnTo>
                  <a:pt x="1422699" y="940371"/>
                </a:lnTo>
                <a:lnTo>
                  <a:pt x="1280144" y="1014805"/>
                </a:lnTo>
                <a:lnTo>
                  <a:pt x="1127806" y="1087644"/>
                </a:lnTo>
                <a:lnTo>
                  <a:pt x="990279" y="1130729"/>
                </a:lnTo>
                <a:lnTo>
                  <a:pt x="810491" y="1173110"/>
                </a:lnTo>
                <a:lnTo>
                  <a:pt x="586912" y="1195359"/>
                </a:lnTo>
                <a:lnTo>
                  <a:pt x="392889" y="1194291"/>
                </a:lnTo>
                <a:lnTo>
                  <a:pt x="238097" y="1182967"/>
                </a:lnTo>
                <a:lnTo>
                  <a:pt x="101191" y="1160796"/>
                </a:lnTo>
                <a:lnTo>
                  <a:pt x="0" y="1135391"/>
                </a:lnTo>
                <a:lnTo>
                  <a:pt x="414962" y="45279"/>
                </a:lnTo>
                <a:close/>
              </a:path>
            </a:pathLst>
          </a:custGeom>
          <a:solidFill>
            <a:srgbClr val="CE6B29">
              <a:alpha val="50000"/>
            </a:srgbClr>
          </a:solidFill>
          <a:ln w="9525" cap="flat" cmpd="sng" algn="ctr">
            <a:solidFill>
              <a:srgbClr val="CE6B29"/>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13" name="Rounded Rectangle 1012"/>
          <p:cNvSpPr/>
          <p:nvPr>
            <p:custDataLst>
              <p:tags r:id="rId16"/>
            </p:custDataLst>
          </p:nvPr>
        </p:nvSpPr>
        <p:spPr>
          <a:xfrm>
            <a:off x="6340344" y="3892284"/>
            <a:ext cx="1041400" cy="774700"/>
          </a:xfrm>
          <a:prstGeom prst="roundRect">
            <a:avLst/>
          </a:prstGeom>
          <a:solidFill>
            <a:schemeClr val="tx1"/>
          </a:solidFill>
          <a:ln w="9525">
            <a:solidFill>
              <a:srgbClr val="CE6B29"/>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Performance management, training, leadership</a:t>
            </a:r>
          </a:p>
        </p:txBody>
      </p:sp>
      <p:grpSp>
        <p:nvGrpSpPr>
          <p:cNvPr id="42" name="Group 1013"/>
          <p:cNvGrpSpPr/>
          <p:nvPr/>
        </p:nvGrpSpPr>
        <p:grpSpPr>
          <a:xfrm>
            <a:off x="1524004" y="-743849"/>
            <a:ext cx="9126743" cy="7601849"/>
            <a:chOff x="0" y="-743849"/>
            <a:chExt cx="9126743" cy="7601849"/>
          </a:xfrm>
        </p:grpSpPr>
        <p:sp>
          <p:nvSpPr>
            <p:cNvPr id="1015" name="Rectangle 5"/>
            <p:cNvSpPr>
              <a:spLocks noChangeArrowheads="1"/>
            </p:cNvSpPr>
            <p:nvPr>
              <p:custDataLst>
                <p:tags r:id="rId17"/>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a:solidFill>
                  <a:srgbClr val="FFFFFF"/>
                </a:solidFill>
                <a:latin typeface="Gill Sans MT" pitchFamily="34" charset="0"/>
                <a:cs typeface="Arial" charset="0"/>
              </a:endParaRPr>
            </a:p>
          </p:txBody>
        </p:sp>
        <p:sp>
          <p:nvSpPr>
            <p:cNvPr id="1016" name="Rounded Rectangle 1015"/>
            <p:cNvSpPr/>
            <p:nvPr>
              <p:custDataLst>
                <p:tags r:id="rId18"/>
              </p:custDataLst>
            </p:nvPr>
          </p:nvSpPr>
          <p:spPr bwMode="gray">
            <a:xfrm>
              <a:off x="793630" y="836713"/>
              <a:ext cx="7668883" cy="5630762"/>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1017" name="Rectangle 5"/>
            <p:cNvSpPr>
              <a:spLocks noChangeArrowheads="1"/>
            </p:cNvSpPr>
            <p:nvPr>
              <p:custDataLst>
                <p:tags r:id="rId19"/>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GLOBAL</a:t>
              </a:r>
            </a:p>
          </p:txBody>
        </p:sp>
        <p:sp>
          <p:nvSpPr>
            <p:cNvPr id="1018" name="Rectangle 5"/>
            <p:cNvSpPr>
              <a:spLocks noChangeArrowheads="1"/>
            </p:cNvSpPr>
            <p:nvPr>
              <p:custDataLst>
                <p:tags r:id="rId20"/>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NATIONAL</a:t>
              </a:r>
            </a:p>
          </p:txBody>
        </p:sp>
        <p:sp>
          <p:nvSpPr>
            <p:cNvPr id="1019" name="Rectangle 5"/>
            <p:cNvSpPr>
              <a:spLocks noChangeArrowheads="1"/>
            </p:cNvSpPr>
            <p:nvPr>
              <p:custDataLst>
                <p:tags r:id="rId21"/>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D5CB99"/>
                  </a:solidFill>
                  <a:latin typeface="Gill Sans MT" pitchFamily="34" charset="0"/>
                  <a:cs typeface="Arial" charset="0"/>
                </a:rPr>
                <a:t>LOCAL</a:t>
              </a:r>
            </a:p>
          </p:txBody>
        </p:sp>
        <p:sp>
          <p:nvSpPr>
            <p:cNvPr id="1020" name="Rectangle 5"/>
            <p:cNvSpPr>
              <a:spLocks noChangeArrowheads="1"/>
            </p:cNvSpPr>
            <p:nvPr>
              <p:custDataLst>
                <p:tags r:id="rId22"/>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POLITICAL COMMITMENT</a:t>
              </a:r>
            </a:p>
          </p:txBody>
        </p:sp>
        <p:sp>
          <p:nvSpPr>
            <p:cNvPr id="1021" name="Rectangle 5"/>
            <p:cNvSpPr>
              <a:spLocks noChangeArrowheads="1"/>
            </p:cNvSpPr>
            <p:nvPr>
              <p:custDataLst>
                <p:tags r:id="rId23"/>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FINANCING &amp; PRICING</a:t>
              </a:r>
            </a:p>
          </p:txBody>
        </p:sp>
        <p:sp>
          <p:nvSpPr>
            <p:cNvPr id="1022" name="Chord 1021"/>
            <p:cNvSpPr/>
            <p:nvPr>
              <p:custDataLst>
                <p:tags r:id="rId24"/>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23" name="Chord 1022"/>
            <p:cNvSpPr/>
            <p:nvPr>
              <p:custDataLst>
                <p:tags r:id="rId25"/>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1024" name="Chord 1023"/>
            <p:cNvSpPr/>
            <p:nvPr>
              <p:custDataLst>
                <p:tags r:id="rId26"/>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25" name="Chord 1024"/>
            <p:cNvSpPr/>
            <p:nvPr>
              <p:custDataLst>
                <p:tags r:id="rId27"/>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1026" name="Straight Connector 1025"/>
            <p:cNvCxnSpPr/>
            <p:nvPr>
              <p:custDataLst>
                <p:tags r:id="rId28"/>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1027" name="Straight Connector 1026"/>
            <p:cNvCxnSpPr/>
            <p:nvPr>
              <p:custDataLst>
                <p:tags r:id="rId29"/>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1028" name="Rectangle 5"/>
            <p:cNvSpPr>
              <a:spLocks noChangeArrowheads="1"/>
            </p:cNvSpPr>
            <p:nvPr>
              <p:custDataLst>
                <p:tags r:id="rId30"/>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1029" name="Rectangle 5"/>
            <p:cNvSpPr>
              <a:spLocks noChangeArrowheads="1"/>
            </p:cNvSpPr>
            <p:nvPr>
              <p:custDataLst>
                <p:tags r:id="rId31"/>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1030" name="Rectangle 5"/>
            <p:cNvSpPr>
              <a:spLocks noChangeArrowheads="1"/>
            </p:cNvSpPr>
            <p:nvPr>
              <p:custDataLst>
                <p:tags r:id="rId32"/>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1031" name="Straight Connector 1030"/>
            <p:cNvCxnSpPr/>
            <p:nvPr>
              <p:custDataLst>
                <p:tags r:id="rId33"/>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1032" name="Rectangle 5"/>
            <p:cNvSpPr>
              <a:spLocks noChangeArrowheads="1"/>
            </p:cNvSpPr>
            <p:nvPr>
              <p:custDataLst>
                <p:tags r:id="rId34"/>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fficient supplies at health posts</a:t>
              </a:r>
            </a:p>
          </p:txBody>
        </p:sp>
        <p:sp>
          <p:nvSpPr>
            <p:cNvPr id="1033" name="Rectangle 5"/>
            <p:cNvSpPr>
              <a:spLocks noChangeArrowheads="1"/>
            </p:cNvSpPr>
            <p:nvPr>
              <p:custDataLst>
                <p:tags r:id="rId35"/>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1034" name="Straight Connector 1033"/>
            <p:cNvCxnSpPr/>
            <p:nvPr>
              <p:custDataLst>
                <p:tags r:id="rId36"/>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1035" name="Straight Connector 1034"/>
            <p:cNvCxnSpPr/>
            <p:nvPr>
              <p:custDataLst>
                <p:tags r:id="rId37"/>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1036" name="Rectangle 5"/>
            <p:cNvSpPr>
              <a:spLocks noChangeArrowheads="1"/>
            </p:cNvSpPr>
            <p:nvPr>
              <p:custDataLst>
                <p:tags r:id="rId38"/>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1037" name="Rectangle 5"/>
            <p:cNvSpPr>
              <a:spLocks noChangeArrowheads="1"/>
            </p:cNvSpPr>
            <p:nvPr>
              <p:custDataLst>
                <p:tags r:id="rId39"/>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1038" name="Picture 5"/>
            <p:cNvPicPr>
              <a:picLocks noChangeAspect="1" noChangeArrowheads="1"/>
            </p:cNvPicPr>
            <p:nvPr>
              <p:custDataLst>
                <p:tags r:id="rId40"/>
              </p:custDataLst>
            </p:nvPr>
          </p:nvPicPr>
          <p:blipFill>
            <a:blip r:embed="rId574"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1039" name="Rectangle 5"/>
            <p:cNvSpPr>
              <a:spLocks noChangeArrowheads="1"/>
            </p:cNvSpPr>
            <p:nvPr>
              <p:custDataLst>
                <p:tags r:id="rId41"/>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1040" name="Straight Connector 1039"/>
            <p:cNvCxnSpPr/>
            <p:nvPr>
              <p:custDataLst>
                <p:tags r:id="rId42"/>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1041" name="Rectangle 5"/>
            <p:cNvSpPr>
              <a:spLocks noChangeArrowheads="1"/>
            </p:cNvSpPr>
            <p:nvPr>
              <p:custDataLst>
                <p:tags r:id="rId43"/>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1042" name="Rectangle 5"/>
            <p:cNvSpPr>
              <a:spLocks noChangeArrowheads="1"/>
            </p:cNvSpPr>
            <p:nvPr>
              <p:custDataLst>
                <p:tags r:id="rId44"/>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1043" name="Rectangle 5"/>
            <p:cNvSpPr>
              <a:spLocks noChangeArrowheads="1"/>
            </p:cNvSpPr>
            <p:nvPr>
              <p:custDataLst>
                <p:tags r:id="rId45"/>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44" name="Group 927"/>
            <p:cNvGrpSpPr/>
            <p:nvPr>
              <p:custDataLst>
                <p:tags r:id="rId46"/>
              </p:custDataLst>
            </p:nvPr>
          </p:nvGrpSpPr>
          <p:grpSpPr>
            <a:xfrm>
              <a:off x="2375776" y="2430017"/>
              <a:ext cx="532015" cy="444343"/>
              <a:chOff x="5085316" y="2082799"/>
              <a:chExt cx="777013" cy="639762"/>
            </a:xfrm>
          </p:grpSpPr>
          <p:sp>
            <p:nvSpPr>
              <p:cNvPr id="1125" name="Freeform 25"/>
              <p:cNvSpPr>
                <a:spLocks noChangeAspect="1"/>
              </p:cNvSpPr>
              <p:nvPr>
                <p:custDataLst>
                  <p:tags r:id="rId94"/>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1126" name="Picture 3"/>
              <p:cNvPicPr>
                <a:picLocks noChangeAspect="1" noChangeArrowheads="1"/>
              </p:cNvPicPr>
              <p:nvPr/>
            </p:nvPicPr>
            <p:blipFill>
              <a:blip r:embed="rId575"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1127" name="Picture 3"/>
              <p:cNvPicPr>
                <a:picLocks noChangeAspect="1" noChangeArrowheads="1"/>
              </p:cNvPicPr>
              <p:nvPr/>
            </p:nvPicPr>
            <p:blipFill>
              <a:blip r:embed="rId575"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1128" name="Picture 3"/>
              <p:cNvPicPr>
                <a:picLocks noChangeAspect="1" noChangeArrowheads="1"/>
              </p:cNvPicPr>
              <p:nvPr/>
            </p:nvPicPr>
            <p:blipFill>
              <a:blip r:embed="rId575"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1045" name="Rectangle 5"/>
            <p:cNvSpPr>
              <a:spLocks noChangeArrowheads="1"/>
            </p:cNvSpPr>
            <p:nvPr>
              <p:custDataLst>
                <p:tags r:id="rId47"/>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1046" name="Rectangle 5"/>
            <p:cNvSpPr>
              <a:spLocks noChangeArrowheads="1"/>
            </p:cNvSpPr>
            <p:nvPr>
              <p:custDataLst>
                <p:tags r:id="rId48"/>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1047" name="Rectangle 5"/>
            <p:cNvSpPr>
              <a:spLocks noChangeArrowheads="1"/>
            </p:cNvSpPr>
            <p:nvPr>
              <p:custDataLst>
                <p:tags r:id="rId49"/>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1048" name="Rectangle 5"/>
            <p:cNvSpPr>
              <a:spLocks noChangeArrowheads="1"/>
            </p:cNvSpPr>
            <p:nvPr>
              <p:custDataLst>
                <p:tags r:id="rId50"/>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Data to guide national decision making</a:t>
              </a:r>
            </a:p>
          </p:txBody>
        </p:sp>
        <p:pic>
          <p:nvPicPr>
            <p:cNvPr id="1049" name="Picture 21"/>
            <p:cNvPicPr>
              <a:picLocks noChangeAspect="1" noChangeArrowheads="1"/>
            </p:cNvPicPr>
            <p:nvPr>
              <p:custDataLst>
                <p:tags r:id="rId51"/>
              </p:custDataLst>
            </p:nvPr>
          </p:nvPicPr>
          <p:blipFill>
            <a:blip r:embed="rId576"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1050" name="Rectangle 5"/>
            <p:cNvSpPr>
              <a:spLocks noChangeArrowheads="1"/>
            </p:cNvSpPr>
            <p:nvPr>
              <p:custDataLst>
                <p:tags r:id="rId52"/>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1051" name="Picture 5"/>
            <p:cNvPicPr>
              <a:picLocks noChangeAspect="1" noChangeArrowheads="1"/>
            </p:cNvPicPr>
            <p:nvPr>
              <p:custDataLst>
                <p:tags r:id="rId53"/>
              </p:custDataLst>
            </p:nvPr>
          </p:nvPicPr>
          <p:blipFill>
            <a:blip r:embed="rId577"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1052" name="Straight Connector 1051"/>
            <p:cNvCxnSpPr/>
            <p:nvPr>
              <p:custDataLst>
                <p:tags r:id="rId54"/>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1053" name="Rectangle 5"/>
            <p:cNvSpPr>
              <a:spLocks noChangeArrowheads="1"/>
            </p:cNvSpPr>
            <p:nvPr>
              <p:custDataLst>
                <p:tags r:id="rId55"/>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1054" name="Rectangle 5"/>
            <p:cNvSpPr>
              <a:spLocks noChangeArrowheads="1"/>
            </p:cNvSpPr>
            <p:nvPr>
              <p:custDataLst>
                <p:tags r:id="rId56"/>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45" name="Group 435"/>
            <p:cNvGrpSpPr/>
            <p:nvPr>
              <p:custDataLst>
                <p:tags r:id="rId57"/>
              </p:custDataLst>
            </p:nvPr>
          </p:nvGrpSpPr>
          <p:grpSpPr>
            <a:xfrm>
              <a:off x="5851932" y="2523591"/>
              <a:ext cx="249647" cy="251917"/>
              <a:chOff x="7230319" y="326252"/>
              <a:chExt cx="506784" cy="510648"/>
            </a:xfrm>
          </p:grpSpPr>
          <p:pic>
            <p:nvPicPr>
              <p:cNvPr id="1119" name="Picture 5"/>
              <p:cNvPicPr>
                <a:picLocks noChangeAspect="1" noChangeArrowheads="1"/>
              </p:cNvPicPr>
              <p:nvPr>
                <p:custDataLst>
                  <p:tags r:id="rId88"/>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1120" name="Picture 17"/>
              <p:cNvPicPr>
                <a:picLocks noChangeAspect="1" noChangeArrowheads="1"/>
              </p:cNvPicPr>
              <p:nvPr>
                <p:custDataLst>
                  <p:tags r:id="rId89"/>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1121" name="Picture 17"/>
              <p:cNvPicPr>
                <a:picLocks noChangeAspect="1" noChangeArrowheads="1"/>
              </p:cNvPicPr>
              <p:nvPr>
                <p:custDataLst>
                  <p:tags r:id="rId90"/>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1122" name="Picture 5"/>
              <p:cNvPicPr>
                <a:picLocks noChangeAspect="1" noChangeArrowheads="1"/>
              </p:cNvPicPr>
              <p:nvPr>
                <p:custDataLst>
                  <p:tags r:id="rId91"/>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1123" name="Picture 17"/>
              <p:cNvPicPr>
                <a:picLocks noChangeAspect="1" noChangeArrowheads="1"/>
              </p:cNvPicPr>
              <p:nvPr>
                <p:custDataLst>
                  <p:tags r:id="rId92"/>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1124" name="Picture 5"/>
              <p:cNvPicPr>
                <a:picLocks noChangeAspect="1" noChangeArrowheads="1"/>
              </p:cNvPicPr>
              <p:nvPr>
                <p:custDataLst>
                  <p:tags r:id="rId93"/>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1056" name="Rectangle 5"/>
            <p:cNvSpPr>
              <a:spLocks noChangeArrowheads="1"/>
            </p:cNvSpPr>
            <p:nvPr>
              <p:custDataLst>
                <p:tags r:id="rId58"/>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1057" name="Picture 7" descr="C:\Users\mattha\AppData\Local\Microsoft\Windows\Temporary Internet Files\Content.IE5\A0YJT0Y2\MC900368410[1].wmf"/>
            <p:cNvPicPr>
              <a:picLocks noChangeAspect="1" noChangeArrowheads="1"/>
            </p:cNvPicPr>
            <p:nvPr>
              <p:custDataLst>
                <p:tags r:id="rId59"/>
              </p:custDataLst>
            </p:nvPr>
          </p:nvPicPr>
          <p:blipFill>
            <a:blip r:embed="rId579"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9" descr="C:\Users\mattha\AppData\Local\Microsoft\Windows\Temporary Internet Files\Content.IE5\WZUD8JML\MC900286861[1].wmf"/>
            <p:cNvPicPr>
              <a:picLocks noChangeAspect="1" noChangeArrowheads="1"/>
            </p:cNvPicPr>
            <p:nvPr>
              <p:custDataLst>
                <p:tags r:id="rId60"/>
              </p:custDataLst>
            </p:nvPr>
          </p:nvPicPr>
          <p:blipFill>
            <a:blip r:embed="rId580"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15" descr="C:\Users\mattha\AppData\Local\Microsoft\Windows\Temporary Internet Files\Content.IE5\6RMOFZA8\MC900434820[1].png"/>
            <p:cNvPicPr>
              <a:picLocks noChangeAspect="1" noChangeArrowheads="1"/>
            </p:cNvPicPr>
            <p:nvPr>
              <p:custDataLst>
                <p:tags r:id="rId61"/>
              </p:custDataLst>
            </p:nvPr>
          </p:nvPicPr>
          <p:blipFill>
            <a:blip r:embed="rId581" cstate="print">
              <a:duotone>
                <a:schemeClr val="accent4">
                  <a:shade val="45000"/>
                  <a:satMod val="135000"/>
                </a:schemeClr>
                <a:prstClr val="white"/>
              </a:duotone>
              <a:extLst>
                <a:ext uri="{BEBA8EAE-BF5A-486C-A8C5-ECC9F3942E4B}">
                  <a14:imgProps xmlns:a14="http://schemas.microsoft.com/office/drawing/2010/main">
                    <a14:imgLayer r:embed="rId582">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1060" name="Rectangle 5"/>
            <p:cNvSpPr>
              <a:spLocks noChangeArrowheads="1"/>
            </p:cNvSpPr>
            <p:nvPr>
              <p:custDataLst>
                <p:tags r:id="rId62"/>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ollection &amp; use of data</a:t>
              </a:r>
              <a:endParaRPr lang="en-US" sz="800" dirty="0">
                <a:solidFill>
                  <a:srgbClr val="59452A"/>
                </a:solidFill>
                <a:latin typeface="Gill Sans MT" pitchFamily="34" charset="0"/>
                <a:cs typeface="Arial" charset="0"/>
              </a:endParaRPr>
            </a:p>
          </p:txBody>
        </p:sp>
        <p:pic>
          <p:nvPicPr>
            <p:cNvPr id="1061" name="Picture 27" descr="C:\Users\mattha\AppData\Local\Microsoft\Windows\Temporary Internet Files\Content.IE5\DT8ZIQ2F\MC900434829[1].png"/>
            <p:cNvPicPr>
              <a:picLocks noChangeAspect="1" noChangeArrowheads="1"/>
            </p:cNvPicPr>
            <p:nvPr>
              <p:custDataLst>
                <p:tags r:id="rId63"/>
              </p:custDataLst>
            </p:nvPr>
          </p:nvPicPr>
          <p:blipFill>
            <a:blip r:embed="rId583" cstate="print">
              <a:extLst>
                <a:ext uri="{BEBA8EAE-BF5A-486C-A8C5-ECC9F3942E4B}">
                  <a14:imgProps xmlns:a14="http://schemas.microsoft.com/office/drawing/2010/main">
                    <a14:imgLayer r:embed="rId58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5" descr="C:\Users\mattha\AppData\Local\Microsoft\Windows\Temporary Internet Files\Content.IE5\GIPOTG0L\MC900389208[1].wmf"/>
            <p:cNvPicPr>
              <a:picLocks noChangeAspect="1" noChangeArrowheads="1"/>
            </p:cNvPicPr>
            <p:nvPr>
              <p:custDataLst>
                <p:tags r:id="rId64"/>
              </p:custDataLst>
            </p:nvPr>
          </p:nvPicPr>
          <p:blipFill>
            <a:blip r:embed="rId585"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5"/>
            <p:cNvPicPr>
              <a:picLocks noChangeAspect="1" noChangeArrowheads="1"/>
            </p:cNvPicPr>
            <p:nvPr>
              <p:custDataLst>
                <p:tags r:id="rId65"/>
              </p:custDataLst>
            </p:nvPr>
          </p:nvPicPr>
          <p:blipFill>
            <a:blip r:embed="rId574"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1064" name="Picture 48" descr="C:\Users\mattha\AppData\Local\Microsoft\Windows\Temporary Internet Files\Content.IE5\2H1X03YN\MC900431595[1].png"/>
            <p:cNvPicPr>
              <a:picLocks noChangeAspect="1" noChangeArrowheads="1"/>
            </p:cNvPicPr>
            <p:nvPr>
              <p:custDataLst>
                <p:tags r:id="rId66"/>
              </p:custDataLst>
            </p:nvPr>
          </p:nvPicPr>
          <p:blipFill>
            <a:blip r:embed="rId586" cstate="print">
              <a:duotone>
                <a:prstClr val="black"/>
                <a:schemeClr val="accent4">
                  <a:tint val="45000"/>
                  <a:satMod val="400000"/>
                </a:schemeClr>
              </a:duotone>
              <a:extLst>
                <a:ext uri="{BEBA8EAE-BF5A-486C-A8C5-ECC9F3942E4B}">
                  <a14:imgProps xmlns:a14="http://schemas.microsoft.com/office/drawing/2010/main">
                    <a14:imgLayer r:embed="rId58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1065" name="Picture 50" descr="C:\Users\mattha\AppData\Local\Microsoft\Windows\Temporary Internet Files\Content.IE5\DT8ZIQ2F\MC900389384[1].wmf"/>
            <p:cNvPicPr>
              <a:picLocks noChangeAspect="1" noChangeArrowheads="1"/>
            </p:cNvPicPr>
            <p:nvPr>
              <p:custDataLst>
                <p:tags r:id="rId67"/>
              </p:custDataLst>
            </p:nvPr>
          </p:nvPicPr>
          <p:blipFill>
            <a:blip r:embed="rId58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53" descr="C:\Users\mattha\AppData\Local\Microsoft\Windows\Temporary Internet Files\Content.IE5\GIPOTG0L\MC900039023[1].wmf"/>
            <p:cNvPicPr>
              <a:picLocks noChangeAspect="1" noChangeArrowheads="1"/>
            </p:cNvPicPr>
            <p:nvPr>
              <p:custDataLst>
                <p:tags r:id="rId68"/>
              </p:custDataLst>
            </p:nvPr>
          </p:nvPicPr>
          <p:blipFill>
            <a:blip r:embed="rId589"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54" descr="C:\Users\mattha\AppData\Local\Microsoft\Windows\Temporary Internet Files\Content.IE5\GIPOTG0L\MC900431584[1].png"/>
            <p:cNvPicPr>
              <a:picLocks noChangeAspect="1" noChangeArrowheads="1"/>
            </p:cNvPicPr>
            <p:nvPr>
              <p:custDataLst>
                <p:tags r:id="rId69"/>
              </p:custDataLst>
            </p:nvPr>
          </p:nvPicPr>
          <p:blipFill>
            <a:blip r:embed="rId590" cstate="print">
              <a:extLst>
                <a:ext uri="{BEBA8EAE-BF5A-486C-A8C5-ECC9F3942E4B}">
                  <a14:imgProps xmlns:a14="http://schemas.microsoft.com/office/drawing/2010/main">
                    <a14:imgLayer r:embed="rId591">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57" descr="C:\Users\mattha\AppData\Local\Microsoft\Windows\Temporary Internet Files\Content.IE5\GIPOTG0L\MC900412770[1].wmf"/>
            <p:cNvPicPr>
              <a:picLocks noChangeAspect="1" noChangeArrowheads="1"/>
            </p:cNvPicPr>
            <p:nvPr>
              <p:custDataLst>
                <p:tags r:id="rId70"/>
              </p:custDataLst>
            </p:nvPr>
          </p:nvPicPr>
          <p:blipFill>
            <a:blip r:embed="rId592"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66" descr="C:\Users\mattha\AppData\Local\Microsoft\Windows\Temporary Internet Files\Content.IE5\GIPOTG0L\MC900442092[1].wmf"/>
            <p:cNvPicPr>
              <a:picLocks noChangeAspect="1" noChangeArrowheads="1"/>
            </p:cNvPicPr>
            <p:nvPr>
              <p:custDataLst>
                <p:tags r:id="rId71"/>
              </p:custDataLst>
            </p:nvPr>
          </p:nvPicPr>
          <p:blipFill>
            <a:blip r:embed="rId593"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40"/>
            <p:cNvGrpSpPr/>
            <p:nvPr>
              <p:custDataLst>
                <p:tags r:id="rId72"/>
              </p:custDataLst>
            </p:nvPr>
          </p:nvGrpSpPr>
          <p:grpSpPr>
            <a:xfrm>
              <a:off x="5244368" y="2613724"/>
              <a:ext cx="249647" cy="251917"/>
              <a:chOff x="7230319" y="326252"/>
              <a:chExt cx="506784" cy="510648"/>
            </a:xfrm>
          </p:grpSpPr>
          <p:pic>
            <p:nvPicPr>
              <p:cNvPr id="1113" name="Picture 5"/>
              <p:cNvPicPr>
                <a:picLocks noChangeAspect="1" noChangeArrowheads="1"/>
              </p:cNvPicPr>
              <p:nvPr>
                <p:custDataLst>
                  <p:tags r:id="rId82"/>
                </p:custDataLst>
              </p:nvPr>
            </p:nvPicPr>
            <p:blipFill>
              <a:blip r:embed="rId574"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1114" name="Picture 17"/>
              <p:cNvPicPr>
                <a:picLocks noChangeAspect="1" noChangeArrowheads="1"/>
              </p:cNvPicPr>
              <p:nvPr>
                <p:custDataLst>
                  <p:tags r:id="rId83"/>
                </p:custDataLst>
              </p:nvPr>
            </p:nvPicPr>
            <p:blipFill>
              <a:blip r:embed="rId578"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1115" name="Picture 17"/>
              <p:cNvPicPr>
                <a:picLocks noChangeAspect="1" noChangeArrowheads="1"/>
              </p:cNvPicPr>
              <p:nvPr>
                <p:custDataLst>
                  <p:tags r:id="rId84"/>
                </p:custDataLst>
              </p:nvPr>
            </p:nvPicPr>
            <p:blipFill>
              <a:blip r:embed="rId578"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1116" name="Picture 5"/>
              <p:cNvPicPr>
                <a:picLocks noChangeAspect="1" noChangeArrowheads="1"/>
              </p:cNvPicPr>
              <p:nvPr>
                <p:custDataLst>
                  <p:tags r:id="rId85"/>
                </p:custDataLst>
              </p:nvPr>
            </p:nvPicPr>
            <p:blipFill>
              <a:blip r:embed="rId574"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1117" name="Picture 17"/>
              <p:cNvPicPr>
                <a:picLocks noChangeAspect="1" noChangeArrowheads="1"/>
              </p:cNvPicPr>
              <p:nvPr>
                <p:custDataLst>
                  <p:tags r:id="rId86"/>
                </p:custDataLst>
              </p:nvPr>
            </p:nvPicPr>
            <p:blipFill>
              <a:blip r:embed="rId578"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1118" name="Picture 5"/>
              <p:cNvPicPr>
                <a:picLocks noChangeAspect="1" noChangeArrowheads="1"/>
              </p:cNvPicPr>
              <p:nvPr>
                <p:custDataLst>
                  <p:tags r:id="rId87"/>
                </p:custDataLst>
              </p:nvPr>
            </p:nvPicPr>
            <p:blipFill>
              <a:blip r:embed="rId574"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1071" name="Rectangle 5"/>
            <p:cNvSpPr>
              <a:spLocks noChangeArrowheads="1"/>
            </p:cNvSpPr>
            <p:nvPr>
              <p:custDataLst>
                <p:tags r:id="rId73"/>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1072" name="TextBox 1071"/>
            <p:cNvSpPr txBox="1"/>
            <p:nvPr>
              <p:custDataLst>
                <p:tags r:id="rId74"/>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a:solidFill>
                    <a:srgbClr val="59452A"/>
                  </a:solidFill>
                  <a:latin typeface="Gill Sans MT" pitchFamily="34" charset="0"/>
                  <a:cs typeface="Arial" pitchFamily="34" charset="0"/>
                </a:rPr>
                <a:t>--------------------     Supply chain data      -------------------</a:t>
              </a:r>
            </a:p>
          </p:txBody>
        </p:sp>
        <p:pic>
          <p:nvPicPr>
            <p:cNvPr id="1073" name="Picture 5"/>
            <p:cNvPicPr>
              <a:picLocks noChangeAspect="1" noChangeArrowheads="1"/>
            </p:cNvPicPr>
            <p:nvPr>
              <p:custDataLst>
                <p:tags r:id="rId75"/>
              </p:custDataLst>
            </p:nvPr>
          </p:nvPicPr>
          <p:blipFill>
            <a:blip r:embed="rId574"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1074" name="Picture 87" descr="C:\Users\mattha\AppData\Local\Microsoft\Windows\Temporary Internet Files\Content.IE5\DT8ZIQ2F\MC910216326[1].png"/>
            <p:cNvPicPr>
              <a:picLocks noChangeAspect="1" noChangeArrowheads="1"/>
            </p:cNvPicPr>
            <p:nvPr>
              <p:custDataLst>
                <p:tags r:id="rId76"/>
              </p:custDataLst>
            </p:nvPr>
          </p:nvPicPr>
          <p:blipFill>
            <a:blip r:embed="rId594" cstate="print">
              <a:duotone>
                <a:schemeClr val="accent5">
                  <a:shade val="45000"/>
                  <a:satMod val="135000"/>
                </a:schemeClr>
                <a:prstClr val="white"/>
              </a:duotone>
              <a:extLst>
                <a:ext uri="{BEBA8EAE-BF5A-486C-A8C5-ECC9F3942E4B}">
                  <a14:imgProps xmlns:a14="http://schemas.microsoft.com/office/drawing/2010/main">
                    <a14:imgLayer r:embed="rId59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4" descr="Data Chart Clip Art"/>
            <p:cNvPicPr>
              <a:picLocks noChangeAspect="1" noChangeArrowheads="1"/>
            </p:cNvPicPr>
            <p:nvPr>
              <p:custDataLst>
                <p:tags r:id="rId77"/>
              </p:custDataLst>
            </p:nvPr>
          </p:nvPicPr>
          <p:blipFill>
            <a:blip r:embed="rId596" cstate="print"/>
            <a:srcRect/>
            <a:stretch>
              <a:fillRect/>
            </a:stretch>
          </p:blipFill>
          <p:spPr bwMode="auto">
            <a:xfrm>
              <a:off x="3571875" y="2470595"/>
              <a:ext cx="247650" cy="236093"/>
            </a:xfrm>
            <a:prstGeom prst="rect">
              <a:avLst/>
            </a:prstGeom>
            <a:noFill/>
          </p:spPr>
        </p:pic>
        <p:grpSp>
          <p:nvGrpSpPr>
            <p:cNvPr id="47" name="Group 848"/>
            <p:cNvGrpSpPr/>
            <p:nvPr>
              <p:custDataLst>
                <p:tags r:id="rId78"/>
              </p:custDataLst>
            </p:nvPr>
          </p:nvGrpSpPr>
          <p:grpSpPr>
            <a:xfrm>
              <a:off x="2257425" y="3627438"/>
              <a:ext cx="274638" cy="333375"/>
              <a:chOff x="2257425" y="3627438"/>
              <a:chExt cx="274638" cy="333375"/>
            </a:xfrm>
          </p:grpSpPr>
          <p:sp>
            <p:nvSpPr>
              <p:cNvPr id="1080"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1"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2"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3"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4"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5"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6"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7"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8"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9"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0"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1"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2"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3"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4"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5"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6"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7"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8"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9"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0"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1"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2"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3"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4"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5"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6"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7"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8"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9"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0"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1"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2"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1077" name="Rectangle 5"/>
            <p:cNvSpPr>
              <a:spLocks noChangeArrowheads="1"/>
            </p:cNvSpPr>
            <p:nvPr>
              <p:custDataLst>
                <p:tags r:id="rId79"/>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a:solidFill>
                    <a:srgbClr val="FFFFFF"/>
                  </a:solidFill>
                  <a:latin typeface="Gill Sans MT" pitchFamily="34" charset="0"/>
                  <a:cs typeface="Arial" charset="0"/>
                </a:rPr>
                <a:t>ENABLING PARTNER ENVIRONMENT</a:t>
              </a:r>
            </a:p>
          </p:txBody>
        </p:sp>
        <p:pic>
          <p:nvPicPr>
            <p:cNvPr id="1078" name="Picture 2" descr="https://encrypted-tbn1.google.com/images?q=tbn:ANd9GcQ2iDgw2b5ZvUXP-l4Qh60g3Q0yQgF2uKGxP2r60bac0hT5CFlVgw"/>
            <p:cNvPicPr>
              <a:picLocks noChangeAspect="1" noChangeArrowheads="1"/>
            </p:cNvPicPr>
            <p:nvPr>
              <p:custDataLst>
                <p:tags r:id="rId80"/>
              </p:custDataLst>
            </p:nvPr>
          </p:nvPicPr>
          <p:blipFill>
            <a:blip r:embed="rId597"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8">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1079" name="Picture 3"/>
            <p:cNvPicPr>
              <a:picLocks noChangeAspect="1" noChangeArrowheads="1"/>
            </p:cNvPicPr>
            <p:nvPr>
              <p:custDataLst>
                <p:tags r:id="rId81"/>
              </p:custDataLst>
            </p:nvPr>
          </p:nvPicPr>
          <p:blipFill>
            <a:blip r:embed="rId599"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sp>
        <p:nvSpPr>
          <p:cNvPr id="860" name="TextBox 859"/>
          <p:cNvSpPr txBox="1"/>
          <p:nvPr/>
        </p:nvSpPr>
        <p:spPr>
          <a:xfrm>
            <a:off x="9119013" y="6486647"/>
            <a:ext cx="1480816" cy="226626"/>
          </a:xfrm>
          <a:prstGeom prst="rect">
            <a:avLst/>
          </a:prstGeom>
          <a:noFill/>
          <a:ln>
            <a:noFill/>
          </a:ln>
        </p:spPr>
        <p:txBody>
          <a:bodyPr wrap="square" rtlCol="0">
            <a:noAutofit/>
          </a:bodyPr>
          <a:lstStyle/>
          <a:p>
            <a:pPr fontAlgn="base">
              <a:spcAft>
                <a:spcPct val="0"/>
              </a:spcAft>
            </a:pPr>
            <a:r>
              <a:rPr lang="en-US" sz="1000" b="1" dirty="0">
                <a:solidFill>
                  <a:srgbClr val="59452A"/>
                </a:solidFill>
                <a:cs typeface="Arial" pitchFamily="34" charset="0"/>
              </a:rPr>
              <a:t>Courtesy of BMGF</a:t>
            </a:r>
          </a:p>
        </p:txBody>
      </p:sp>
      <p:sp>
        <p:nvSpPr>
          <p:cNvPr id="909" name="Rectangle 2"/>
          <p:cNvSpPr>
            <a:spLocks noGrp="1" noChangeArrowheads="1"/>
          </p:cNvSpPr>
          <p:nvPr>
            <p:ph type="title"/>
          </p:nvPr>
        </p:nvSpPr>
        <p:spPr>
          <a:xfrm>
            <a:off x="3748" y="16936"/>
            <a:ext cx="8915400" cy="838200"/>
          </a:xfrm>
        </p:spPr>
        <p:txBody>
          <a:bodyPr>
            <a:normAutofit/>
          </a:bodyPr>
          <a:lstStyle/>
          <a:p>
            <a:r>
              <a:rPr lang="en-US" sz="3200" b="1" dirty="0"/>
              <a:t>Routine Immunization System</a:t>
            </a:r>
          </a:p>
        </p:txBody>
      </p:sp>
    </p:spTree>
    <p:extLst>
      <p:ext uri="{BB962C8B-B14F-4D97-AF65-F5344CB8AC3E}">
        <p14:creationId xmlns:p14="http://schemas.microsoft.com/office/powerpoint/2010/main" val="3921555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9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53" presetClass="entr" presetSubtype="0" fill="hold" grpId="0" nodeType="clickEffect">
                                  <p:stCondLst>
                                    <p:cond delay="0"/>
                                  </p:stCondLst>
                                  <p:childTnLst>
                                    <p:set>
                                      <p:cBhvr>
                                        <p:cTn id="30" dur="1" fill="hold">
                                          <p:stCondLst>
                                            <p:cond delay="0"/>
                                          </p:stCondLst>
                                        </p:cTn>
                                        <p:tgtEl>
                                          <p:spTgt spid="1001"/>
                                        </p:tgtEl>
                                        <p:attrNameLst>
                                          <p:attrName>style.visibility</p:attrName>
                                        </p:attrNameLst>
                                      </p:cBhvr>
                                      <p:to>
                                        <p:strVal val="visible"/>
                                      </p:to>
                                    </p:set>
                                    <p:anim calcmode="lin" valueType="num">
                                      <p:cBhvr>
                                        <p:cTn id="31" dur="500" fill="hold"/>
                                        <p:tgtEl>
                                          <p:spTgt spid="1001"/>
                                        </p:tgtEl>
                                        <p:attrNameLst>
                                          <p:attrName>ppt_w</p:attrName>
                                        </p:attrNameLst>
                                      </p:cBhvr>
                                      <p:tavLst>
                                        <p:tav tm="0">
                                          <p:val>
                                            <p:fltVal val="0"/>
                                          </p:val>
                                        </p:tav>
                                        <p:tav tm="100000">
                                          <p:val>
                                            <p:strVal val="#ppt_w"/>
                                          </p:val>
                                        </p:tav>
                                      </p:tavLst>
                                    </p:anim>
                                    <p:anim calcmode="lin" valueType="num">
                                      <p:cBhvr>
                                        <p:cTn id="32" dur="500" fill="hold"/>
                                        <p:tgtEl>
                                          <p:spTgt spid="1001"/>
                                        </p:tgtEl>
                                        <p:attrNameLst>
                                          <p:attrName>ppt_h</p:attrName>
                                        </p:attrNameLst>
                                      </p:cBhvr>
                                      <p:tavLst>
                                        <p:tav tm="0">
                                          <p:val>
                                            <p:fltVal val="0"/>
                                          </p:val>
                                        </p:tav>
                                        <p:tav tm="100000">
                                          <p:val>
                                            <p:strVal val="#ppt_h"/>
                                          </p:val>
                                        </p:tav>
                                      </p:tavLst>
                                    </p:anim>
                                    <p:animEffect transition="in" filter="fade">
                                      <p:cBhvr>
                                        <p:cTn id="33" dur="500"/>
                                        <p:tgtEl>
                                          <p:spTgt spid="1001"/>
                                        </p:tgtEl>
                                      </p:cBhvr>
                                    </p:animEffect>
                                  </p:childTnLst>
                                </p:cTn>
                              </p:par>
                              <p:par>
                                <p:cTn id="34" presetID="53" presetClass="entr" presetSubtype="0" fill="hold" grpId="0" nodeType="withEffect">
                                  <p:stCondLst>
                                    <p:cond delay="0"/>
                                  </p:stCondLst>
                                  <p:childTnLst>
                                    <p:set>
                                      <p:cBhvr>
                                        <p:cTn id="35" dur="1" fill="hold">
                                          <p:stCondLst>
                                            <p:cond delay="0"/>
                                          </p:stCondLst>
                                        </p:cTn>
                                        <p:tgtEl>
                                          <p:spTgt spid="1002"/>
                                        </p:tgtEl>
                                        <p:attrNameLst>
                                          <p:attrName>style.visibility</p:attrName>
                                        </p:attrNameLst>
                                      </p:cBhvr>
                                      <p:to>
                                        <p:strVal val="visible"/>
                                      </p:to>
                                    </p:set>
                                    <p:anim calcmode="lin" valueType="num">
                                      <p:cBhvr>
                                        <p:cTn id="36" dur="500" fill="hold"/>
                                        <p:tgtEl>
                                          <p:spTgt spid="1002"/>
                                        </p:tgtEl>
                                        <p:attrNameLst>
                                          <p:attrName>ppt_w</p:attrName>
                                        </p:attrNameLst>
                                      </p:cBhvr>
                                      <p:tavLst>
                                        <p:tav tm="0">
                                          <p:val>
                                            <p:fltVal val="0"/>
                                          </p:val>
                                        </p:tav>
                                        <p:tav tm="100000">
                                          <p:val>
                                            <p:strVal val="#ppt_w"/>
                                          </p:val>
                                        </p:tav>
                                      </p:tavLst>
                                    </p:anim>
                                    <p:anim calcmode="lin" valueType="num">
                                      <p:cBhvr>
                                        <p:cTn id="37" dur="500" fill="hold"/>
                                        <p:tgtEl>
                                          <p:spTgt spid="1002"/>
                                        </p:tgtEl>
                                        <p:attrNameLst>
                                          <p:attrName>ppt_h</p:attrName>
                                        </p:attrNameLst>
                                      </p:cBhvr>
                                      <p:tavLst>
                                        <p:tav tm="0">
                                          <p:val>
                                            <p:fltVal val="0"/>
                                          </p:val>
                                        </p:tav>
                                        <p:tav tm="100000">
                                          <p:val>
                                            <p:strVal val="#ppt_h"/>
                                          </p:val>
                                        </p:tav>
                                      </p:tavLst>
                                    </p:anim>
                                    <p:animEffect transition="in" filter="fade">
                                      <p:cBhvr>
                                        <p:cTn id="38" dur="500"/>
                                        <p:tgtEl>
                                          <p:spTgt spid="1002"/>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0" fill="hold" grpId="0" nodeType="clickEffect">
                                  <p:stCondLst>
                                    <p:cond delay="0"/>
                                  </p:stCondLst>
                                  <p:childTnLst>
                                    <p:set>
                                      <p:cBhvr>
                                        <p:cTn id="42" dur="1" fill="hold">
                                          <p:stCondLst>
                                            <p:cond delay="0"/>
                                          </p:stCondLst>
                                        </p:cTn>
                                        <p:tgtEl>
                                          <p:spTgt spid="1003"/>
                                        </p:tgtEl>
                                        <p:attrNameLst>
                                          <p:attrName>style.visibility</p:attrName>
                                        </p:attrNameLst>
                                      </p:cBhvr>
                                      <p:to>
                                        <p:strVal val="visible"/>
                                      </p:to>
                                    </p:set>
                                    <p:anim calcmode="lin" valueType="num">
                                      <p:cBhvr>
                                        <p:cTn id="43" dur="500" fill="hold"/>
                                        <p:tgtEl>
                                          <p:spTgt spid="1003"/>
                                        </p:tgtEl>
                                        <p:attrNameLst>
                                          <p:attrName>ppt_w</p:attrName>
                                        </p:attrNameLst>
                                      </p:cBhvr>
                                      <p:tavLst>
                                        <p:tav tm="0">
                                          <p:val>
                                            <p:fltVal val="0"/>
                                          </p:val>
                                        </p:tav>
                                        <p:tav tm="100000">
                                          <p:val>
                                            <p:strVal val="#ppt_w"/>
                                          </p:val>
                                        </p:tav>
                                      </p:tavLst>
                                    </p:anim>
                                    <p:anim calcmode="lin" valueType="num">
                                      <p:cBhvr>
                                        <p:cTn id="44" dur="500" fill="hold"/>
                                        <p:tgtEl>
                                          <p:spTgt spid="1003"/>
                                        </p:tgtEl>
                                        <p:attrNameLst>
                                          <p:attrName>ppt_h</p:attrName>
                                        </p:attrNameLst>
                                      </p:cBhvr>
                                      <p:tavLst>
                                        <p:tav tm="0">
                                          <p:val>
                                            <p:fltVal val="0"/>
                                          </p:val>
                                        </p:tav>
                                        <p:tav tm="100000">
                                          <p:val>
                                            <p:strVal val="#ppt_h"/>
                                          </p:val>
                                        </p:tav>
                                      </p:tavLst>
                                    </p:anim>
                                    <p:animEffect transition="in" filter="fade">
                                      <p:cBhvr>
                                        <p:cTn id="45" dur="500"/>
                                        <p:tgtEl>
                                          <p:spTgt spid="1003"/>
                                        </p:tgtEl>
                                      </p:cBhvr>
                                    </p:animEffect>
                                  </p:childTnLst>
                                </p:cTn>
                              </p:par>
                              <p:par>
                                <p:cTn id="46" presetID="53" presetClass="entr" presetSubtype="0" fill="hold" grpId="0" nodeType="withEffect">
                                  <p:stCondLst>
                                    <p:cond delay="0"/>
                                  </p:stCondLst>
                                  <p:childTnLst>
                                    <p:set>
                                      <p:cBhvr>
                                        <p:cTn id="47" dur="1" fill="hold">
                                          <p:stCondLst>
                                            <p:cond delay="0"/>
                                          </p:stCondLst>
                                        </p:cTn>
                                        <p:tgtEl>
                                          <p:spTgt spid="1004"/>
                                        </p:tgtEl>
                                        <p:attrNameLst>
                                          <p:attrName>style.visibility</p:attrName>
                                        </p:attrNameLst>
                                      </p:cBhvr>
                                      <p:to>
                                        <p:strVal val="visible"/>
                                      </p:to>
                                    </p:set>
                                    <p:anim calcmode="lin" valueType="num">
                                      <p:cBhvr>
                                        <p:cTn id="48" dur="500" fill="hold"/>
                                        <p:tgtEl>
                                          <p:spTgt spid="1004"/>
                                        </p:tgtEl>
                                        <p:attrNameLst>
                                          <p:attrName>ppt_w</p:attrName>
                                        </p:attrNameLst>
                                      </p:cBhvr>
                                      <p:tavLst>
                                        <p:tav tm="0">
                                          <p:val>
                                            <p:fltVal val="0"/>
                                          </p:val>
                                        </p:tav>
                                        <p:tav tm="100000">
                                          <p:val>
                                            <p:strVal val="#ppt_w"/>
                                          </p:val>
                                        </p:tav>
                                      </p:tavLst>
                                    </p:anim>
                                    <p:anim calcmode="lin" valueType="num">
                                      <p:cBhvr>
                                        <p:cTn id="49" dur="500" fill="hold"/>
                                        <p:tgtEl>
                                          <p:spTgt spid="1004"/>
                                        </p:tgtEl>
                                        <p:attrNameLst>
                                          <p:attrName>ppt_h</p:attrName>
                                        </p:attrNameLst>
                                      </p:cBhvr>
                                      <p:tavLst>
                                        <p:tav tm="0">
                                          <p:val>
                                            <p:fltVal val="0"/>
                                          </p:val>
                                        </p:tav>
                                        <p:tav tm="100000">
                                          <p:val>
                                            <p:strVal val="#ppt_h"/>
                                          </p:val>
                                        </p:tav>
                                      </p:tavLst>
                                    </p:anim>
                                    <p:animEffect transition="in" filter="fade">
                                      <p:cBhvr>
                                        <p:cTn id="50" dur="500"/>
                                        <p:tgtEl>
                                          <p:spTgt spid="1004"/>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ntr" presetSubtype="0" fill="hold" grpId="0" nodeType="clickEffect">
                                  <p:stCondLst>
                                    <p:cond delay="0"/>
                                  </p:stCondLst>
                                  <p:childTnLst>
                                    <p:set>
                                      <p:cBhvr>
                                        <p:cTn id="54" dur="1" fill="hold">
                                          <p:stCondLst>
                                            <p:cond delay="0"/>
                                          </p:stCondLst>
                                        </p:cTn>
                                        <p:tgtEl>
                                          <p:spTgt spid="1012"/>
                                        </p:tgtEl>
                                        <p:attrNameLst>
                                          <p:attrName>style.visibility</p:attrName>
                                        </p:attrNameLst>
                                      </p:cBhvr>
                                      <p:to>
                                        <p:strVal val="visible"/>
                                      </p:to>
                                    </p:set>
                                    <p:anim calcmode="lin" valueType="num">
                                      <p:cBhvr>
                                        <p:cTn id="55" dur="500" fill="hold"/>
                                        <p:tgtEl>
                                          <p:spTgt spid="1012"/>
                                        </p:tgtEl>
                                        <p:attrNameLst>
                                          <p:attrName>ppt_w</p:attrName>
                                        </p:attrNameLst>
                                      </p:cBhvr>
                                      <p:tavLst>
                                        <p:tav tm="0">
                                          <p:val>
                                            <p:fltVal val="0"/>
                                          </p:val>
                                        </p:tav>
                                        <p:tav tm="100000">
                                          <p:val>
                                            <p:strVal val="#ppt_w"/>
                                          </p:val>
                                        </p:tav>
                                      </p:tavLst>
                                    </p:anim>
                                    <p:anim calcmode="lin" valueType="num">
                                      <p:cBhvr>
                                        <p:cTn id="56" dur="500" fill="hold"/>
                                        <p:tgtEl>
                                          <p:spTgt spid="1012"/>
                                        </p:tgtEl>
                                        <p:attrNameLst>
                                          <p:attrName>ppt_h</p:attrName>
                                        </p:attrNameLst>
                                      </p:cBhvr>
                                      <p:tavLst>
                                        <p:tav tm="0">
                                          <p:val>
                                            <p:fltVal val="0"/>
                                          </p:val>
                                        </p:tav>
                                        <p:tav tm="100000">
                                          <p:val>
                                            <p:strVal val="#ppt_h"/>
                                          </p:val>
                                        </p:tav>
                                      </p:tavLst>
                                    </p:anim>
                                    <p:animEffect transition="in" filter="fade">
                                      <p:cBhvr>
                                        <p:cTn id="57" dur="500"/>
                                        <p:tgtEl>
                                          <p:spTgt spid="1012"/>
                                        </p:tgtEl>
                                      </p:cBhvr>
                                    </p:animEffect>
                                  </p:childTnLst>
                                </p:cTn>
                              </p:par>
                              <p:par>
                                <p:cTn id="58" presetID="53" presetClass="entr" presetSubtype="0" fill="hold" grpId="0" nodeType="withEffect">
                                  <p:stCondLst>
                                    <p:cond delay="0"/>
                                  </p:stCondLst>
                                  <p:childTnLst>
                                    <p:set>
                                      <p:cBhvr>
                                        <p:cTn id="59" dur="1" fill="hold">
                                          <p:stCondLst>
                                            <p:cond delay="0"/>
                                          </p:stCondLst>
                                        </p:cTn>
                                        <p:tgtEl>
                                          <p:spTgt spid="1013"/>
                                        </p:tgtEl>
                                        <p:attrNameLst>
                                          <p:attrName>style.visibility</p:attrName>
                                        </p:attrNameLst>
                                      </p:cBhvr>
                                      <p:to>
                                        <p:strVal val="visible"/>
                                      </p:to>
                                    </p:set>
                                    <p:anim calcmode="lin" valueType="num">
                                      <p:cBhvr>
                                        <p:cTn id="60" dur="500" fill="hold"/>
                                        <p:tgtEl>
                                          <p:spTgt spid="1013"/>
                                        </p:tgtEl>
                                        <p:attrNameLst>
                                          <p:attrName>ppt_w</p:attrName>
                                        </p:attrNameLst>
                                      </p:cBhvr>
                                      <p:tavLst>
                                        <p:tav tm="0">
                                          <p:val>
                                            <p:fltVal val="0"/>
                                          </p:val>
                                        </p:tav>
                                        <p:tav tm="100000">
                                          <p:val>
                                            <p:strVal val="#ppt_w"/>
                                          </p:val>
                                        </p:tav>
                                      </p:tavLst>
                                    </p:anim>
                                    <p:anim calcmode="lin" valueType="num">
                                      <p:cBhvr>
                                        <p:cTn id="61" dur="500" fill="hold"/>
                                        <p:tgtEl>
                                          <p:spTgt spid="1013"/>
                                        </p:tgtEl>
                                        <p:attrNameLst>
                                          <p:attrName>ppt_h</p:attrName>
                                        </p:attrNameLst>
                                      </p:cBhvr>
                                      <p:tavLst>
                                        <p:tav tm="0">
                                          <p:val>
                                            <p:fltVal val="0"/>
                                          </p:val>
                                        </p:tav>
                                        <p:tav tm="100000">
                                          <p:val>
                                            <p:strVal val="#ppt_h"/>
                                          </p:val>
                                        </p:tav>
                                      </p:tavLst>
                                    </p:anim>
                                    <p:animEffect transition="in" filter="fade">
                                      <p:cBhvr>
                                        <p:cTn id="62" dur="500"/>
                                        <p:tgtEl>
                                          <p:spTgt spid="1013"/>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0" fill="hold" grpId="0" nodeType="clickEffect">
                                  <p:stCondLst>
                                    <p:cond delay="0"/>
                                  </p:stCondLst>
                                  <p:childTnLst>
                                    <p:set>
                                      <p:cBhvr>
                                        <p:cTn id="66" dur="1" fill="hold">
                                          <p:stCondLst>
                                            <p:cond delay="0"/>
                                          </p:stCondLst>
                                        </p:cTn>
                                        <p:tgtEl>
                                          <p:spTgt spid="1011"/>
                                        </p:tgtEl>
                                        <p:attrNameLst>
                                          <p:attrName>style.visibility</p:attrName>
                                        </p:attrNameLst>
                                      </p:cBhvr>
                                      <p:to>
                                        <p:strVal val="visible"/>
                                      </p:to>
                                    </p:set>
                                    <p:anim calcmode="lin" valueType="num">
                                      <p:cBhvr>
                                        <p:cTn id="67" dur="500" fill="hold"/>
                                        <p:tgtEl>
                                          <p:spTgt spid="1011"/>
                                        </p:tgtEl>
                                        <p:attrNameLst>
                                          <p:attrName>ppt_w</p:attrName>
                                        </p:attrNameLst>
                                      </p:cBhvr>
                                      <p:tavLst>
                                        <p:tav tm="0">
                                          <p:val>
                                            <p:fltVal val="0"/>
                                          </p:val>
                                        </p:tav>
                                        <p:tav tm="100000">
                                          <p:val>
                                            <p:strVal val="#ppt_w"/>
                                          </p:val>
                                        </p:tav>
                                      </p:tavLst>
                                    </p:anim>
                                    <p:anim calcmode="lin" valueType="num">
                                      <p:cBhvr>
                                        <p:cTn id="68" dur="500" fill="hold"/>
                                        <p:tgtEl>
                                          <p:spTgt spid="1011"/>
                                        </p:tgtEl>
                                        <p:attrNameLst>
                                          <p:attrName>ppt_h</p:attrName>
                                        </p:attrNameLst>
                                      </p:cBhvr>
                                      <p:tavLst>
                                        <p:tav tm="0">
                                          <p:val>
                                            <p:fltVal val="0"/>
                                          </p:val>
                                        </p:tav>
                                        <p:tav tm="100000">
                                          <p:val>
                                            <p:strVal val="#ppt_h"/>
                                          </p:val>
                                        </p:tav>
                                      </p:tavLst>
                                    </p:anim>
                                    <p:animEffect transition="in" filter="fade">
                                      <p:cBhvr>
                                        <p:cTn id="69" dur="500"/>
                                        <p:tgtEl>
                                          <p:spTgt spid="1011"/>
                                        </p:tgtEl>
                                      </p:cBhvr>
                                    </p:animEffect>
                                  </p:childTnLst>
                                </p:cTn>
                              </p:par>
                              <p:par>
                                <p:cTn id="70" presetID="53" presetClass="entr" presetSubtype="0" fill="hold" grpId="0" nodeType="withEffect">
                                  <p:stCondLst>
                                    <p:cond delay="0"/>
                                  </p:stCondLst>
                                  <p:childTnLst>
                                    <p:set>
                                      <p:cBhvr>
                                        <p:cTn id="71" dur="1" fill="hold">
                                          <p:stCondLst>
                                            <p:cond delay="0"/>
                                          </p:stCondLst>
                                        </p:cTn>
                                        <p:tgtEl>
                                          <p:spTgt spid="1005"/>
                                        </p:tgtEl>
                                        <p:attrNameLst>
                                          <p:attrName>style.visibility</p:attrName>
                                        </p:attrNameLst>
                                      </p:cBhvr>
                                      <p:to>
                                        <p:strVal val="visible"/>
                                      </p:to>
                                    </p:set>
                                    <p:anim calcmode="lin" valueType="num">
                                      <p:cBhvr>
                                        <p:cTn id="72" dur="500" fill="hold"/>
                                        <p:tgtEl>
                                          <p:spTgt spid="1005"/>
                                        </p:tgtEl>
                                        <p:attrNameLst>
                                          <p:attrName>ppt_w</p:attrName>
                                        </p:attrNameLst>
                                      </p:cBhvr>
                                      <p:tavLst>
                                        <p:tav tm="0">
                                          <p:val>
                                            <p:fltVal val="0"/>
                                          </p:val>
                                        </p:tav>
                                        <p:tav tm="100000">
                                          <p:val>
                                            <p:strVal val="#ppt_w"/>
                                          </p:val>
                                        </p:tav>
                                      </p:tavLst>
                                    </p:anim>
                                    <p:anim calcmode="lin" valueType="num">
                                      <p:cBhvr>
                                        <p:cTn id="73" dur="500" fill="hold"/>
                                        <p:tgtEl>
                                          <p:spTgt spid="1005"/>
                                        </p:tgtEl>
                                        <p:attrNameLst>
                                          <p:attrName>ppt_h</p:attrName>
                                        </p:attrNameLst>
                                      </p:cBhvr>
                                      <p:tavLst>
                                        <p:tav tm="0">
                                          <p:val>
                                            <p:fltVal val="0"/>
                                          </p:val>
                                        </p:tav>
                                        <p:tav tm="100000">
                                          <p:val>
                                            <p:strVal val="#ppt_h"/>
                                          </p:val>
                                        </p:tav>
                                      </p:tavLst>
                                    </p:anim>
                                    <p:animEffect transition="in" filter="fade">
                                      <p:cBhvr>
                                        <p:cTn id="74" dur="500"/>
                                        <p:tgtEl>
                                          <p:spTgt spid="1005"/>
                                        </p:tgtEl>
                                      </p:cBhvr>
                                    </p:animEffect>
                                  </p:childTnLst>
                                </p:cTn>
                              </p:par>
                            </p:childTnLst>
                          </p:cTn>
                        </p:par>
                      </p:childTnLst>
                    </p:cTn>
                  </p:par>
                  <p:par>
                    <p:cTn id="75" fill="hold">
                      <p:stCondLst>
                        <p:cond delay="indefinite"/>
                      </p:stCondLst>
                      <p:childTnLst>
                        <p:par>
                          <p:cTn id="76" fill="hold">
                            <p:stCondLst>
                              <p:cond delay="0"/>
                            </p:stCondLst>
                            <p:childTnLst>
                              <p:par>
                                <p:cTn id="77" presetID="53" presetClass="entr" presetSubtype="0" fill="hold" grpId="0" nodeType="clickEffect">
                                  <p:stCondLst>
                                    <p:cond delay="0"/>
                                  </p:stCondLst>
                                  <p:childTnLst>
                                    <p:set>
                                      <p:cBhvr>
                                        <p:cTn id="78" dur="1" fill="hold">
                                          <p:stCondLst>
                                            <p:cond delay="0"/>
                                          </p:stCondLst>
                                        </p:cTn>
                                        <p:tgtEl>
                                          <p:spTgt spid="1010"/>
                                        </p:tgtEl>
                                        <p:attrNameLst>
                                          <p:attrName>style.visibility</p:attrName>
                                        </p:attrNameLst>
                                      </p:cBhvr>
                                      <p:to>
                                        <p:strVal val="visible"/>
                                      </p:to>
                                    </p:set>
                                    <p:anim calcmode="lin" valueType="num">
                                      <p:cBhvr>
                                        <p:cTn id="79" dur="500" fill="hold"/>
                                        <p:tgtEl>
                                          <p:spTgt spid="1010"/>
                                        </p:tgtEl>
                                        <p:attrNameLst>
                                          <p:attrName>ppt_w</p:attrName>
                                        </p:attrNameLst>
                                      </p:cBhvr>
                                      <p:tavLst>
                                        <p:tav tm="0">
                                          <p:val>
                                            <p:fltVal val="0"/>
                                          </p:val>
                                        </p:tav>
                                        <p:tav tm="100000">
                                          <p:val>
                                            <p:strVal val="#ppt_w"/>
                                          </p:val>
                                        </p:tav>
                                      </p:tavLst>
                                    </p:anim>
                                    <p:anim calcmode="lin" valueType="num">
                                      <p:cBhvr>
                                        <p:cTn id="80" dur="500" fill="hold"/>
                                        <p:tgtEl>
                                          <p:spTgt spid="1010"/>
                                        </p:tgtEl>
                                        <p:attrNameLst>
                                          <p:attrName>ppt_h</p:attrName>
                                        </p:attrNameLst>
                                      </p:cBhvr>
                                      <p:tavLst>
                                        <p:tav tm="0">
                                          <p:val>
                                            <p:fltVal val="0"/>
                                          </p:val>
                                        </p:tav>
                                        <p:tav tm="100000">
                                          <p:val>
                                            <p:strVal val="#ppt_h"/>
                                          </p:val>
                                        </p:tav>
                                      </p:tavLst>
                                    </p:anim>
                                    <p:animEffect transition="in" filter="fade">
                                      <p:cBhvr>
                                        <p:cTn id="81" dur="500"/>
                                        <p:tgtEl>
                                          <p:spTgt spid="1010"/>
                                        </p:tgtEl>
                                      </p:cBhvr>
                                    </p:animEffect>
                                  </p:childTnLst>
                                </p:cTn>
                              </p:par>
                              <p:par>
                                <p:cTn id="82" presetID="53" presetClass="entr" presetSubtype="0" fill="hold" grpId="0" nodeType="withEffect">
                                  <p:stCondLst>
                                    <p:cond delay="0"/>
                                  </p:stCondLst>
                                  <p:childTnLst>
                                    <p:set>
                                      <p:cBhvr>
                                        <p:cTn id="83" dur="1" fill="hold">
                                          <p:stCondLst>
                                            <p:cond delay="0"/>
                                          </p:stCondLst>
                                        </p:cTn>
                                        <p:tgtEl>
                                          <p:spTgt spid="1009"/>
                                        </p:tgtEl>
                                        <p:attrNameLst>
                                          <p:attrName>style.visibility</p:attrName>
                                        </p:attrNameLst>
                                      </p:cBhvr>
                                      <p:to>
                                        <p:strVal val="visible"/>
                                      </p:to>
                                    </p:set>
                                    <p:anim calcmode="lin" valueType="num">
                                      <p:cBhvr>
                                        <p:cTn id="84" dur="500" fill="hold"/>
                                        <p:tgtEl>
                                          <p:spTgt spid="1009"/>
                                        </p:tgtEl>
                                        <p:attrNameLst>
                                          <p:attrName>ppt_w</p:attrName>
                                        </p:attrNameLst>
                                      </p:cBhvr>
                                      <p:tavLst>
                                        <p:tav tm="0">
                                          <p:val>
                                            <p:fltVal val="0"/>
                                          </p:val>
                                        </p:tav>
                                        <p:tav tm="100000">
                                          <p:val>
                                            <p:strVal val="#ppt_w"/>
                                          </p:val>
                                        </p:tav>
                                      </p:tavLst>
                                    </p:anim>
                                    <p:anim calcmode="lin" valueType="num">
                                      <p:cBhvr>
                                        <p:cTn id="85" dur="500" fill="hold"/>
                                        <p:tgtEl>
                                          <p:spTgt spid="1009"/>
                                        </p:tgtEl>
                                        <p:attrNameLst>
                                          <p:attrName>ppt_h</p:attrName>
                                        </p:attrNameLst>
                                      </p:cBhvr>
                                      <p:tavLst>
                                        <p:tav tm="0">
                                          <p:val>
                                            <p:fltVal val="0"/>
                                          </p:val>
                                        </p:tav>
                                        <p:tav tm="100000">
                                          <p:val>
                                            <p:strVal val="#ppt_h"/>
                                          </p:val>
                                        </p:tav>
                                      </p:tavLst>
                                    </p:anim>
                                    <p:animEffect transition="in" filter="fade">
                                      <p:cBhvr>
                                        <p:cTn id="86" dur="500"/>
                                        <p:tgtEl>
                                          <p:spTgt spid="1009"/>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0" fill="hold" nodeType="clickEffect">
                                  <p:stCondLst>
                                    <p:cond delay="0"/>
                                  </p:stCondLst>
                                  <p:childTnLst>
                                    <p:set>
                                      <p:cBhvr>
                                        <p:cTn id="90" dur="1" fill="hold">
                                          <p:stCondLst>
                                            <p:cond delay="0"/>
                                          </p:stCondLst>
                                        </p:cTn>
                                        <p:tgtEl>
                                          <p:spTgt spid="38"/>
                                        </p:tgtEl>
                                        <p:attrNameLst>
                                          <p:attrName>style.visibility</p:attrName>
                                        </p:attrNameLst>
                                      </p:cBhvr>
                                      <p:to>
                                        <p:strVal val="visible"/>
                                      </p:to>
                                    </p:set>
                                    <p:anim calcmode="lin" valueType="num">
                                      <p:cBhvr>
                                        <p:cTn id="91" dur="500" fill="hold"/>
                                        <p:tgtEl>
                                          <p:spTgt spid="38"/>
                                        </p:tgtEl>
                                        <p:attrNameLst>
                                          <p:attrName>ppt_w</p:attrName>
                                        </p:attrNameLst>
                                      </p:cBhvr>
                                      <p:tavLst>
                                        <p:tav tm="0">
                                          <p:val>
                                            <p:fltVal val="0"/>
                                          </p:val>
                                        </p:tav>
                                        <p:tav tm="100000">
                                          <p:val>
                                            <p:strVal val="#ppt_w"/>
                                          </p:val>
                                        </p:tav>
                                      </p:tavLst>
                                    </p:anim>
                                    <p:anim calcmode="lin" valueType="num">
                                      <p:cBhvr>
                                        <p:cTn id="92" dur="500" fill="hold"/>
                                        <p:tgtEl>
                                          <p:spTgt spid="38"/>
                                        </p:tgtEl>
                                        <p:attrNameLst>
                                          <p:attrName>ppt_h</p:attrName>
                                        </p:attrNameLst>
                                      </p:cBhvr>
                                      <p:tavLst>
                                        <p:tav tm="0">
                                          <p:val>
                                            <p:fltVal val="0"/>
                                          </p:val>
                                        </p:tav>
                                        <p:tav tm="100000">
                                          <p:val>
                                            <p:strVal val="#ppt_h"/>
                                          </p:val>
                                        </p:tav>
                                      </p:tavLst>
                                    </p:anim>
                                    <p:animEffect transition="in" filter="fade">
                                      <p:cBhvr>
                                        <p:cTn id="93" dur="500"/>
                                        <p:tgtEl>
                                          <p:spTgt spid="38"/>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0" fill="hold" nodeType="clickEffect">
                                  <p:stCondLst>
                                    <p:cond delay="0"/>
                                  </p:stCondLst>
                                  <p:childTnLst>
                                    <p:set>
                                      <p:cBhvr>
                                        <p:cTn id="97" dur="1" fill="hold">
                                          <p:stCondLst>
                                            <p:cond delay="0"/>
                                          </p:stCondLst>
                                        </p:cTn>
                                        <p:tgtEl>
                                          <p:spTgt spid="39"/>
                                        </p:tgtEl>
                                        <p:attrNameLst>
                                          <p:attrName>style.visibility</p:attrName>
                                        </p:attrNameLst>
                                      </p:cBhvr>
                                      <p:to>
                                        <p:strVal val="visible"/>
                                      </p:to>
                                    </p:set>
                                    <p:anim calcmode="lin" valueType="num">
                                      <p:cBhvr>
                                        <p:cTn id="98" dur="500" fill="hold"/>
                                        <p:tgtEl>
                                          <p:spTgt spid="39"/>
                                        </p:tgtEl>
                                        <p:attrNameLst>
                                          <p:attrName>ppt_w</p:attrName>
                                        </p:attrNameLst>
                                      </p:cBhvr>
                                      <p:tavLst>
                                        <p:tav tm="0">
                                          <p:val>
                                            <p:fltVal val="0"/>
                                          </p:val>
                                        </p:tav>
                                        <p:tav tm="100000">
                                          <p:val>
                                            <p:strVal val="#ppt_w"/>
                                          </p:val>
                                        </p:tav>
                                      </p:tavLst>
                                    </p:anim>
                                    <p:anim calcmode="lin" valueType="num">
                                      <p:cBhvr>
                                        <p:cTn id="99" dur="500" fill="hold"/>
                                        <p:tgtEl>
                                          <p:spTgt spid="39"/>
                                        </p:tgtEl>
                                        <p:attrNameLst>
                                          <p:attrName>ppt_h</p:attrName>
                                        </p:attrNameLst>
                                      </p:cBhvr>
                                      <p:tavLst>
                                        <p:tav tm="0">
                                          <p:val>
                                            <p:fltVal val="0"/>
                                          </p:val>
                                        </p:tav>
                                        <p:tav tm="100000">
                                          <p:val>
                                            <p:strVal val="#ppt_h"/>
                                          </p:val>
                                        </p:tav>
                                      </p:tavLst>
                                    </p:anim>
                                    <p:animEffect transition="in" filter="fade">
                                      <p:cBhvr>
                                        <p:cTn id="100" dur="500"/>
                                        <p:tgtEl>
                                          <p:spTgt spid="39"/>
                                        </p:tgtEl>
                                      </p:cBhvr>
                                    </p:animEffect>
                                  </p:childTnLst>
                                </p:cTn>
                              </p:par>
                            </p:childTnLst>
                          </p:cTn>
                        </p:par>
                      </p:childTnLst>
                    </p:cTn>
                  </p:par>
                  <p:par>
                    <p:cTn id="101" fill="hold">
                      <p:stCondLst>
                        <p:cond delay="indefinite"/>
                      </p:stCondLst>
                      <p:childTnLst>
                        <p:par>
                          <p:cTn id="102" fill="hold">
                            <p:stCondLst>
                              <p:cond delay="0"/>
                            </p:stCondLst>
                            <p:childTnLst>
                              <p:par>
                                <p:cTn id="103" presetID="9" presetClass="entr" presetSubtype="0" fill="hold" nodeType="clickEffect">
                                  <p:stCondLst>
                                    <p:cond delay="0"/>
                                  </p:stCondLst>
                                  <p:childTnLst>
                                    <p:set>
                                      <p:cBhvr>
                                        <p:cTn id="104" dur="1" fill="hold">
                                          <p:stCondLst>
                                            <p:cond delay="0"/>
                                          </p:stCondLst>
                                        </p:cTn>
                                        <p:tgtEl>
                                          <p:spTgt spid="42"/>
                                        </p:tgtEl>
                                        <p:attrNameLst>
                                          <p:attrName>style.visibility</p:attrName>
                                        </p:attrNameLst>
                                      </p:cBhvr>
                                      <p:to>
                                        <p:strVal val="visible"/>
                                      </p:to>
                                    </p:set>
                                    <p:animEffect transition="in" filter="dissolve">
                                      <p:cBhvr>
                                        <p:cTn id="105" dur="10"/>
                                        <p:tgtEl>
                                          <p:spTgt spid="42"/>
                                        </p:tgtEl>
                                      </p:cBhvr>
                                    </p:animEffect>
                                  </p:childTnLst>
                                </p:cTn>
                              </p:par>
                            </p:childTnLst>
                          </p:cTn>
                        </p:par>
                      </p:childTnLst>
                    </p:cTn>
                  </p:par>
                  <p:par>
                    <p:cTn id="106" fill="hold">
                      <p:stCondLst>
                        <p:cond delay="indefinite"/>
                      </p:stCondLst>
                      <p:childTnLst>
                        <p:par>
                          <p:cTn id="107" fill="hold">
                            <p:stCondLst>
                              <p:cond delay="0"/>
                            </p:stCondLst>
                            <p:childTnLst>
                              <p:par>
                                <p:cTn id="108" presetID="53" presetClass="entr" presetSubtype="0" fill="hold" nodeType="clickEffect">
                                  <p:stCondLst>
                                    <p:cond delay="0"/>
                                  </p:stCondLst>
                                  <p:childTnLst>
                                    <p:set>
                                      <p:cBhvr>
                                        <p:cTn id="109" dur="1" fill="hold">
                                          <p:stCondLst>
                                            <p:cond delay="0"/>
                                          </p:stCondLst>
                                        </p:cTn>
                                        <p:tgtEl>
                                          <p:spTgt spid="41"/>
                                        </p:tgtEl>
                                        <p:attrNameLst>
                                          <p:attrName>style.visibility</p:attrName>
                                        </p:attrNameLst>
                                      </p:cBhvr>
                                      <p:to>
                                        <p:strVal val="visible"/>
                                      </p:to>
                                    </p:set>
                                    <p:anim calcmode="lin" valueType="num">
                                      <p:cBhvr>
                                        <p:cTn id="110" dur="500" fill="hold"/>
                                        <p:tgtEl>
                                          <p:spTgt spid="41"/>
                                        </p:tgtEl>
                                        <p:attrNameLst>
                                          <p:attrName>ppt_w</p:attrName>
                                        </p:attrNameLst>
                                      </p:cBhvr>
                                      <p:tavLst>
                                        <p:tav tm="0">
                                          <p:val>
                                            <p:fltVal val="0"/>
                                          </p:val>
                                        </p:tav>
                                        <p:tav tm="100000">
                                          <p:val>
                                            <p:strVal val="#ppt_w"/>
                                          </p:val>
                                        </p:tav>
                                      </p:tavLst>
                                    </p:anim>
                                    <p:anim calcmode="lin" valueType="num">
                                      <p:cBhvr>
                                        <p:cTn id="111" dur="500" fill="hold"/>
                                        <p:tgtEl>
                                          <p:spTgt spid="41"/>
                                        </p:tgtEl>
                                        <p:attrNameLst>
                                          <p:attrName>ppt_h</p:attrName>
                                        </p:attrNameLst>
                                      </p:cBhvr>
                                      <p:tavLst>
                                        <p:tav tm="0">
                                          <p:val>
                                            <p:fltVal val="0"/>
                                          </p:val>
                                        </p:tav>
                                        <p:tav tm="100000">
                                          <p:val>
                                            <p:strVal val="#ppt_h"/>
                                          </p:val>
                                        </p:tav>
                                      </p:tavLst>
                                    </p:anim>
                                    <p:animEffect transition="in" filter="fade">
                                      <p:cBhvr>
                                        <p:cTn id="11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4" grpId="0" animBg="1"/>
      <p:bldP spid="1001" grpId="0" animBg="1"/>
      <p:bldP spid="1002" grpId="0" animBg="1"/>
      <p:bldP spid="1003" grpId="0" animBg="1"/>
      <p:bldP spid="1004" grpId="0" animBg="1"/>
      <p:bldP spid="1005" grpId="0" animBg="1"/>
      <p:bldP spid="1009" grpId="0" animBg="1"/>
      <p:bldP spid="1010" grpId="0" animBg="1"/>
      <p:bldP spid="1011" grpId="0" animBg="1"/>
      <p:bldP spid="1012" grpId="0" animBg="1"/>
      <p:bldP spid="10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774EE6F-FCA1-4A88-9245-457578840D3B}"/>
              </a:ext>
            </a:extLst>
          </p:cNvPr>
          <p:cNvPicPr>
            <a:picLocks noChangeAspect="1"/>
          </p:cNvPicPr>
          <p:nvPr/>
        </p:nvPicPr>
        <p:blipFill rotWithShape="1">
          <a:blip r:embed="rId3"/>
          <a:srcRect t="7594" b="7594"/>
          <a:stretch/>
        </p:blipFill>
        <p:spPr>
          <a:xfrm>
            <a:off x="0" y="-53117"/>
            <a:ext cx="12239627" cy="6941408"/>
          </a:xfrm>
          <a:prstGeom prst="rect">
            <a:avLst/>
          </a:prstGeom>
        </p:spPr>
      </p:pic>
      <p:sp>
        <p:nvSpPr>
          <p:cNvPr id="15" name="Rectangle 14">
            <a:extLst>
              <a:ext uri="{FF2B5EF4-FFF2-40B4-BE49-F238E27FC236}">
                <a16:creationId xmlns:a16="http://schemas.microsoft.com/office/drawing/2014/main" id="{631F477C-1999-4E2F-B1CE-558931A53299}"/>
              </a:ext>
            </a:extLst>
          </p:cNvPr>
          <p:cNvSpPr/>
          <p:nvPr/>
        </p:nvSpPr>
        <p:spPr>
          <a:xfrm>
            <a:off x="0" y="-53118"/>
            <a:ext cx="6349569" cy="6941407"/>
          </a:xfrm>
          <a:prstGeom prst="rect">
            <a:avLst/>
          </a:prstGeom>
          <a:gradFill flip="none" rotWithShape="1">
            <a:gsLst>
              <a:gs pos="100000">
                <a:srgbClr val="432818">
                  <a:alpha val="0"/>
                </a:srgbClr>
              </a:gs>
              <a:gs pos="63000">
                <a:srgbClr val="432818">
                  <a:alpha val="91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4" name="Slide Number Placeholder 3">
            <a:extLst>
              <a:ext uri="{FF2B5EF4-FFF2-40B4-BE49-F238E27FC236}">
                <a16:creationId xmlns:a16="http://schemas.microsoft.com/office/drawing/2014/main" id="{901C3C27-9612-4EE3-8451-FF6200A96425}"/>
              </a:ext>
            </a:extLst>
          </p:cNvPr>
          <p:cNvSpPr>
            <a:spLocks noGrp="1"/>
          </p:cNvSpPr>
          <p:nvPr>
            <p:ph type="sldNum" sz="quarter" idx="11"/>
          </p:nvPr>
        </p:nvSpPr>
        <p:spPr/>
        <p:txBody>
          <a:bodyPr/>
          <a:lstStyle/>
          <a:p>
            <a:pPr algn="l"/>
            <a:fld id="{733122C9-A0B9-462F-8757-0847AD287B63}" type="slidenum">
              <a:rPr lang="en-US" smtClean="0">
                <a:solidFill>
                  <a:srgbClr val="878787"/>
                </a:solidFill>
              </a:rPr>
              <a:pPr algn="l"/>
              <a:t>4</a:t>
            </a:fld>
            <a:endParaRPr lang="en-US">
              <a:solidFill>
                <a:srgbClr val="878787"/>
              </a:solidFill>
            </a:endParaRPr>
          </a:p>
        </p:txBody>
      </p:sp>
      <p:graphicFrame>
        <p:nvGraphicFramePr>
          <p:cNvPr id="6" name="Chart 5">
            <a:extLst>
              <a:ext uri="{FF2B5EF4-FFF2-40B4-BE49-F238E27FC236}">
                <a16:creationId xmlns:a16="http://schemas.microsoft.com/office/drawing/2014/main" id="{043A3DFB-1762-4EAB-AE44-8ECCC57CB5FE}"/>
              </a:ext>
            </a:extLst>
          </p:cNvPr>
          <p:cNvGraphicFramePr/>
          <p:nvPr/>
        </p:nvGraphicFramePr>
        <p:xfrm>
          <a:off x="1288481" y="2163780"/>
          <a:ext cx="6342892" cy="4046721"/>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0C254F25-FF54-4E10-9D61-56ACF5881F75}"/>
              </a:ext>
            </a:extLst>
          </p:cNvPr>
          <p:cNvSpPr/>
          <p:nvPr/>
        </p:nvSpPr>
        <p:spPr>
          <a:xfrm>
            <a:off x="611737" y="570893"/>
            <a:ext cx="5255777" cy="978729"/>
          </a:xfrm>
          <a:prstGeom prst="rect">
            <a:avLst/>
          </a:prstGeom>
        </p:spPr>
        <p:txBody>
          <a:bodyPr wrap="square">
            <a:spAutoFit/>
          </a:bodyPr>
          <a:lstStyle/>
          <a:p>
            <a:pPr defTabSz="913286">
              <a:lnSpc>
                <a:spcPct val="90000"/>
              </a:lnSpc>
              <a:spcBef>
                <a:spcPct val="0"/>
              </a:spcBef>
            </a:pPr>
            <a:r>
              <a:rPr lang="en-US" altLang="en-US" sz="3200" dirty="0">
                <a:solidFill>
                  <a:srgbClr val="FFFFFF"/>
                </a:solidFill>
                <a:effectLst>
                  <a:outerShdw blurRad="38100" dist="38100" dir="2700000" algn="tl">
                    <a:srgbClr val="000000">
                      <a:alpha val="43137"/>
                    </a:srgbClr>
                  </a:outerShdw>
                </a:effectLst>
              </a:rPr>
              <a:t>Demand Challenges:</a:t>
            </a:r>
          </a:p>
          <a:p>
            <a:pPr defTabSz="913286">
              <a:lnSpc>
                <a:spcPct val="90000"/>
              </a:lnSpc>
              <a:spcBef>
                <a:spcPct val="0"/>
              </a:spcBef>
            </a:pPr>
            <a:r>
              <a:rPr lang="en-US" altLang="en-US" sz="3200" dirty="0">
                <a:solidFill>
                  <a:srgbClr val="FFFFFF"/>
                </a:solidFill>
                <a:effectLst>
                  <a:outerShdw blurRad="38100" dist="38100" dir="2700000" algn="tl">
                    <a:srgbClr val="000000">
                      <a:alpha val="43137"/>
                    </a:srgbClr>
                  </a:outerShdw>
                </a:effectLst>
              </a:rPr>
              <a:t>Case: Nigeria</a:t>
            </a:r>
            <a:endParaRPr lang="en-GB" sz="3200" b="1" dirty="0">
              <a:solidFill>
                <a:srgbClr val="FFFFFF"/>
              </a:solidFill>
              <a:effectLst>
                <a:outerShdw blurRad="38100" dist="38100" dir="2700000" algn="tl">
                  <a:srgbClr val="000000">
                    <a:alpha val="43137"/>
                  </a:srgbClr>
                </a:outerShdw>
              </a:effectLst>
            </a:endParaRPr>
          </a:p>
        </p:txBody>
      </p:sp>
      <p:sp>
        <p:nvSpPr>
          <p:cNvPr id="17" name="Rectangle 16">
            <a:extLst>
              <a:ext uri="{FF2B5EF4-FFF2-40B4-BE49-F238E27FC236}">
                <a16:creationId xmlns:a16="http://schemas.microsoft.com/office/drawing/2014/main" id="{36603EE4-9B16-4A64-99DA-C6002D3CC52A}"/>
              </a:ext>
            </a:extLst>
          </p:cNvPr>
          <p:cNvSpPr/>
          <p:nvPr/>
        </p:nvSpPr>
        <p:spPr>
          <a:xfrm>
            <a:off x="619464" y="1876281"/>
            <a:ext cx="4849281" cy="341632"/>
          </a:xfrm>
          <a:prstGeom prst="rect">
            <a:avLst/>
          </a:prstGeom>
        </p:spPr>
        <p:txBody>
          <a:bodyPr wrap="square">
            <a:spAutoFit/>
          </a:bodyPr>
          <a:lstStyle/>
          <a:p>
            <a:pPr defTabSz="913286">
              <a:lnSpc>
                <a:spcPct val="90000"/>
              </a:lnSpc>
              <a:spcBef>
                <a:spcPct val="0"/>
              </a:spcBef>
            </a:pPr>
            <a:r>
              <a:rPr lang="en-US" altLang="en-US" b="1" dirty="0">
                <a:solidFill>
                  <a:srgbClr val="FFFFFF"/>
                </a:solidFill>
                <a:effectLst>
                  <a:outerShdw blurRad="38100" dist="38100" dir="2700000" algn="tl">
                    <a:srgbClr val="000000">
                      <a:alpha val="43137"/>
                    </a:srgbClr>
                  </a:outerShdw>
                </a:effectLst>
              </a:rPr>
              <a:t>Reasons for under-vaccination</a:t>
            </a:r>
            <a:endParaRPr lang="en-GB" b="1" dirty="0">
              <a:solidFill>
                <a:srgbClr val="FFFFFF"/>
              </a:solidFill>
              <a:effectLst>
                <a:outerShdw blurRad="38100" dist="38100" dir="2700000" algn="tl">
                  <a:srgbClr val="000000">
                    <a:alpha val="43137"/>
                  </a:srgbClr>
                </a:outerShdw>
              </a:effectLst>
            </a:endParaRPr>
          </a:p>
        </p:txBody>
      </p:sp>
      <p:sp>
        <p:nvSpPr>
          <p:cNvPr id="3" name="Rectangle 2">
            <a:extLst>
              <a:ext uri="{FF2B5EF4-FFF2-40B4-BE49-F238E27FC236}">
                <a16:creationId xmlns:a16="http://schemas.microsoft.com/office/drawing/2014/main" id="{CE80AD11-0AAD-453C-9D2B-F3F95A8A33C0}"/>
              </a:ext>
            </a:extLst>
          </p:cNvPr>
          <p:cNvSpPr/>
          <p:nvPr/>
        </p:nvSpPr>
        <p:spPr>
          <a:xfrm>
            <a:off x="561199" y="6538085"/>
            <a:ext cx="5549917" cy="307777"/>
          </a:xfrm>
          <a:prstGeom prst="rect">
            <a:avLst/>
          </a:prstGeom>
        </p:spPr>
        <p:txBody>
          <a:bodyPr wrap="none">
            <a:spAutoFit/>
          </a:bodyPr>
          <a:lstStyle/>
          <a:p>
            <a:pPr defTabSz="457200"/>
            <a:r>
              <a:rPr lang="en-GB" sz="1400" dirty="0">
                <a:solidFill>
                  <a:srgbClr val="FFFFFF"/>
                </a:solidFill>
                <a:effectLst>
                  <a:outerShdw blurRad="38100" dist="38100" dir="2700000" algn="tl">
                    <a:srgbClr val="000000">
                      <a:alpha val="43137"/>
                    </a:srgbClr>
                  </a:outerShdw>
                </a:effectLst>
              </a:rPr>
              <a:t>Source: McKinsey analysis of data from the 2016/2017 MICS/NICS </a:t>
            </a:r>
          </a:p>
        </p:txBody>
      </p:sp>
      <p:cxnSp>
        <p:nvCxnSpPr>
          <p:cNvPr id="23" name="Straight Arrow Connector 22"/>
          <p:cNvCxnSpPr/>
          <p:nvPr/>
        </p:nvCxnSpPr>
        <p:spPr>
          <a:xfrm rot="5400000" flipV="1">
            <a:off x="-592174" y="3696680"/>
            <a:ext cx="2766660" cy="0"/>
          </a:xfrm>
          <a:prstGeom prst="straightConnector1">
            <a:avLst/>
          </a:prstGeom>
          <a:ln w="57150">
            <a:gradFill flip="none" rotWithShape="1">
              <a:gsLst>
                <a:gs pos="0">
                  <a:srgbClr val="00A03A"/>
                </a:gs>
                <a:gs pos="31000">
                  <a:srgbClr val="95D600"/>
                </a:gs>
                <a:gs pos="64000">
                  <a:srgbClr val="00A1DF"/>
                </a:gs>
                <a:gs pos="100000">
                  <a:srgbClr val="0070C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839647" y="4664512"/>
            <a:ext cx="1059568" cy="415498"/>
          </a:xfrm>
          <a:prstGeom prst="rect">
            <a:avLst/>
          </a:prstGeom>
          <a:noFill/>
        </p:spPr>
        <p:txBody>
          <a:bodyPr wrap="square" rtlCol="0">
            <a:spAutoFit/>
          </a:bodyPr>
          <a:lstStyle/>
          <a:p>
            <a:pPr defTabSz="457200"/>
            <a:r>
              <a:rPr lang="en-GB" sz="1050" b="1" dirty="0">
                <a:solidFill>
                  <a:srgbClr val="005CB9"/>
                </a:solidFill>
              </a:rPr>
              <a:t>Supply reasons</a:t>
            </a:r>
          </a:p>
        </p:txBody>
      </p:sp>
      <p:sp>
        <p:nvSpPr>
          <p:cNvPr id="30" name="TextBox 29"/>
          <p:cNvSpPr txBox="1"/>
          <p:nvPr/>
        </p:nvSpPr>
        <p:spPr>
          <a:xfrm>
            <a:off x="839647" y="2313350"/>
            <a:ext cx="897667" cy="415498"/>
          </a:xfrm>
          <a:prstGeom prst="rect">
            <a:avLst/>
          </a:prstGeom>
          <a:noFill/>
        </p:spPr>
        <p:txBody>
          <a:bodyPr wrap="square" rtlCol="0">
            <a:spAutoFit/>
          </a:bodyPr>
          <a:lstStyle/>
          <a:p>
            <a:pPr defTabSz="457200"/>
            <a:r>
              <a:rPr lang="en-GB" sz="1050" b="1" dirty="0">
                <a:solidFill>
                  <a:srgbClr val="00A03A"/>
                </a:solidFill>
              </a:rPr>
              <a:t>Demand reasons</a:t>
            </a:r>
          </a:p>
        </p:txBody>
      </p:sp>
    </p:spTree>
    <p:extLst>
      <p:ext uri="{BB962C8B-B14F-4D97-AF65-F5344CB8AC3E}">
        <p14:creationId xmlns:p14="http://schemas.microsoft.com/office/powerpoint/2010/main" val="100328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090101-FC44-4F67-9642-A48F1F0D435A}"/>
              </a:ext>
            </a:extLst>
          </p:cNvPr>
          <p:cNvPicPr>
            <a:picLocks noChangeAspect="1"/>
          </p:cNvPicPr>
          <p:nvPr/>
        </p:nvPicPr>
        <p:blipFill rotWithShape="1">
          <a:blip r:embed="rId3"/>
          <a:srcRect t="17003" b="-472"/>
          <a:stretch/>
        </p:blipFill>
        <p:spPr>
          <a:xfrm>
            <a:off x="0" y="0"/>
            <a:ext cx="12192001" cy="6833507"/>
          </a:xfrm>
          <a:prstGeom prst="rect">
            <a:avLst/>
          </a:prstGeom>
        </p:spPr>
      </p:pic>
      <p:sp>
        <p:nvSpPr>
          <p:cNvPr id="15" name="Rectangle 14">
            <a:extLst>
              <a:ext uri="{FF2B5EF4-FFF2-40B4-BE49-F238E27FC236}">
                <a16:creationId xmlns:a16="http://schemas.microsoft.com/office/drawing/2014/main" id="{631F477C-1999-4E2F-B1CE-558931A53299}"/>
              </a:ext>
            </a:extLst>
          </p:cNvPr>
          <p:cNvSpPr/>
          <p:nvPr/>
        </p:nvSpPr>
        <p:spPr>
          <a:xfrm>
            <a:off x="0" y="-24493"/>
            <a:ext cx="5745894" cy="6858000"/>
          </a:xfrm>
          <a:prstGeom prst="rect">
            <a:avLst/>
          </a:prstGeom>
          <a:gradFill flip="none" rotWithShape="1">
            <a:gsLst>
              <a:gs pos="100000">
                <a:srgbClr val="432818">
                  <a:alpha val="0"/>
                </a:srgbClr>
              </a:gs>
              <a:gs pos="63000">
                <a:srgbClr val="432818">
                  <a:alpha val="91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lide Number Placeholder 3">
            <a:extLst>
              <a:ext uri="{FF2B5EF4-FFF2-40B4-BE49-F238E27FC236}">
                <a16:creationId xmlns:a16="http://schemas.microsoft.com/office/drawing/2014/main" id="{901C3C27-9612-4EE3-8451-FF6200A96425}"/>
              </a:ext>
            </a:extLst>
          </p:cNvPr>
          <p:cNvSpPr>
            <a:spLocks noGrp="1"/>
          </p:cNvSpPr>
          <p:nvPr>
            <p:ph type="sldNum" sz="quarter" idx="11"/>
          </p:nvPr>
        </p:nvSpPr>
        <p:spPr/>
        <p:txBody>
          <a:bodyPr/>
          <a:lstStyle/>
          <a:p>
            <a:pPr algn="l"/>
            <a:fld id="{733122C9-A0B9-462F-8757-0847AD287B63}" type="slidenum">
              <a:rPr lang="en-US" noProof="0" smtClean="0"/>
              <a:pPr algn="l"/>
              <a:t>5</a:t>
            </a:fld>
            <a:endParaRPr lang="en-US" noProof="0"/>
          </a:p>
        </p:txBody>
      </p:sp>
      <p:graphicFrame>
        <p:nvGraphicFramePr>
          <p:cNvPr id="6" name="Chart 5">
            <a:extLst>
              <a:ext uri="{FF2B5EF4-FFF2-40B4-BE49-F238E27FC236}">
                <a16:creationId xmlns:a16="http://schemas.microsoft.com/office/drawing/2014/main" id="{043A3DFB-1762-4EAB-AE44-8ECCC57CB5FE}"/>
              </a:ext>
            </a:extLst>
          </p:cNvPr>
          <p:cNvGraphicFramePr/>
          <p:nvPr/>
        </p:nvGraphicFramePr>
        <p:xfrm>
          <a:off x="-434400" y="2804438"/>
          <a:ext cx="6450224" cy="3887481"/>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A7159AAB-0AEB-4E86-A636-A33A5C33BDBD}"/>
              </a:ext>
            </a:extLst>
          </p:cNvPr>
          <p:cNvSpPr txBox="1"/>
          <p:nvPr/>
        </p:nvSpPr>
        <p:spPr>
          <a:xfrm>
            <a:off x="3551780" y="4746053"/>
            <a:ext cx="1327355" cy="461665"/>
          </a:xfrm>
          <a:prstGeom prst="rect">
            <a:avLst/>
          </a:prstGeom>
          <a:noFill/>
        </p:spPr>
        <p:txBody>
          <a:bodyPr wrap="square" rtlCol="0">
            <a:spAutoFit/>
          </a:bodyPr>
          <a:lstStyle/>
          <a:p>
            <a:r>
              <a:rPr lang="en-GB" sz="1200">
                <a:solidFill>
                  <a:schemeClr val="bg1"/>
                </a:solidFill>
              </a:rPr>
              <a:t>Lack of knowledge</a:t>
            </a:r>
          </a:p>
        </p:txBody>
      </p:sp>
      <p:sp>
        <p:nvSpPr>
          <p:cNvPr id="8" name="TextBox 7">
            <a:extLst>
              <a:ext uri="{FF2B5EF4-FFF2-40B4-BE49-F238E27FC236}">
                <a16:creationId xmlns:a16="http://schemas.microsoft.com/office/drawing/2014/main" id="{C7E69821-7880-4C17-B6F6-3AC4CFC50B64}"/>
              </a:ext>
            </a:extLst>
          </p:cNvPr>
          <p:cNvSpPr txBox="1"/>
          <p:nvPr/>
        </p:nvSpPr>
        <p:spPr>
          <a:xfrm>
            <a:off x="3898490" y="2740705"/>
            <a:ext cx="1602303" cy="276999"/>
          </a:xfrm>
          <a:prstGeom prst="rect">
            <a:avLst/>
          </a:prstGeom>
          <a:noFill/>
        </p:spPr>
        <p:txBody>
          <a:bodyPr wrap="square" rtlCol="0">
            <a:spAutoFit/>
          </a:bodyPr>
          <a:lstStyle/>
          <a:p>
            <a:r>
              <a:rPr lang="en-GB" sz="1200">
                <a:solidFill>
                  <a:schemeClr val="bg1"/>
                </a:solidFill>
              </a:rPr>
              <a:t>Service delivery</a:t>
            </a:r>
          </a:p>
        </p:txBody>
      </p:sp>
      <p:sp>
        <p:nvSpPr>
          <p:cNvPr id="9" name="TextBox 8">
            <a:extLst>
              <a:ext uri="{FF2B5EF4-FFF2-40B4-BE49-F238E27FC236}">
                <a16:creationId xmlns:a16="http://schemas.microsoft.com/office/drawing/2014/main" id="{146E60F2-AE47-4A91-992C-6FA194B0399E}"/>
              </a:ext>
            </a:extLst>
          </p:cNvPr>
          <p:cNvSpPr txBox="1"/>
          <p:nvPr/>
        </p:nvSpPr>
        <p:spPr>
          <a:xfrm>
            <a:off x="96202" y="3907182"/>
            <a:ext cx="1031071" cy="461665"/>
          </a:xfrm>
          <a:prstGeom prst="rect">
            <a:avLst/>
          </a:prstGeom>
          <a:noFill/>
        </p:spPr>
        <p:txBody>
          <a:bodyPr wrap="square" rtlCol="0">
            <a:spAutoFit/>
          </a:bodyPr>
          <a:lstStyle/>
          <a:p>
            <a:r>
              <a:rPr lang="en-GB" sz="1200">
                <a:solidFill>
                  <a:schemeClr val="bg1"/>
                </a:solidFill>
              </a:rPr>
              <a:t>Mistrust or fear</a:t>
            </a:r>
          </a:p>
        </p:txBody>
      </p:sp>
      <p:sp>
        <p:nvSpPr>
          <p:cNvPr id="10" name="TextBox 9">
            <a:extLst>
              <a:ext uri="{FF2B5EF4-FFF2-40B4-BE49-F238E27FC236}">
                <a16:creationId xmlns:a16="http://schemas.microsoft.com/office/drawing/2014/main" id="{568BA68E-7A5F-4A39-9358-8DCB667CD449}"/>
              </a:ext>
            </a:extLst>
          </p:cNvPr>
          <p:cNvSpPr txBox="1"/>
          <p:nvPr/>
        </p:nvSpPr>
        <p:spPr>
          <a:xfrm>
            <a:off x="363758" y="3078811"/>
            <a:ext cx="1527030" cy="276999"/>
          </a:xfrm>
          <a:prstGeom prst="rect">
            <a:avLst/>
          </a:prstGeom>
          <a:noFill/>
        </p:spPr>
        <p:txBody>
          <a:bodyPr wrap="square" rtlCol="0">
            <a:spAutoFit/>
          </a:bodyPr>
          <a:lstStyle/>
          <a:p>
            <a:r>
              <a:rPr lang="en-GB" sz="1200">
                <a:solidFill>
                  <a:schemeClr val="bg1"/>
                </a:solidFill>
              </a:rPr>
              <a:t>Child travelling</a:t>
            </a:r>
          </a:p>
        </p:txBody>
      </p:sp>
      <p:sp>
        <p:nvSpPr>
          <p:cNvPr id="12" name="TextBox 11">
            <a:extLst>
              <a:ext uri="{FF2B5EF4-FFF2-40B4-BE49-F238E27FC236}">
                <a16:creationId xmlns:a16="http://schemas.microsoft.com/office/drawing/2014/main" id="{805C427F-8A6E-446C-8AFF-81762E08FC56}"/>
              </a:ext>
            </a:extLst>
          </p:cNvPr>
          <p:cNvSpPr txBox="1"/>
          <p:nvPr/>
        </p:nvSpPr>
        <p:spPr>
          <a:xfrm>
            <a:off x="2049150" y="2879205"/>
            <a:ext cx="1031071" cy="276999"/>
          </a:xfrm>
          <a:prstGeom prst="rect">
            <a:avLst/>
          </a:prstGeom>
          <a:noFill/>
        </p:spPr>
        <p:txBody>
          <a:bodyPr wrap="square" rtlCol="0">
            <a:spAutoFit/>
          </a:bodyPr>
          <a:lstStyle/>
          <a:p>
            <a:r>
              <a:rPr lang="en-GB" sz="1200">
                <a:solidFill>
                  <a:schemeClr val="bg1"/>
                </a:solidFill>
              </a:rPr>
              <a:t>Other</a:t>
            </a:r>
          </a:p>
        </p:txBody>
      </p:sp>
      <p:sp>
        <p:nvSpPr>
          <p:cNvPr id="17" name="Rectangle 16">
            <a:extLst>
              <a:ext uri="{FF2B5EF4-FFF2-40B4-BE49-F238E27FC236}">
                <a16:creationId xmlns:a16="http://schemas.microsoft.com/office/drawing/2014/main" id="{36603EE4-9B16-4A64-99DA-C6002D3CC52A}"/>
              </a:ext>
            </a:extLst>
          </p:cNvPr>
          <p:cNvSpPr/>
          <p:nvPr/>
        </p:nvSpPr>
        <p:spPr>
          <a:xfrm>
            <a:off x="655580" y="5373417"/>
            <a:ext cx="4849281" cy="313932"/>
          </a:xfrm>
          <a:prstGeom prst="rect">
            <a:avLst/>
          </a:prstGeom>
        </p:spPr>
        <p:txBody>
          <a:bodyPr wrap="square">
            <a:spAutoFit/>
          </a:bodyPr>
          <a:lstStyle/>
          <a:p>
            <a:pPr defTabSz="913286">
              <a:lnSpc>
                <a:spcPct val="90000"/>
              </a:lnSpc>
              <a:spcBef>
                <a:spcPct val="0"/>
              </a:spcBef>
            </a:pPr>
            <a:r>
              <a:rPr lang="en-US" altLang="en-US" sz="1600">
                <a:solidFill>
                  <a:srgbClr val="FFFFFF"/>
                </a:solidFill>
                <a:effectLst>
                  <a:outerShdw blurRad="38100" dist="38100" dir="2700000" algn="tl">
                    <a:srgbClr val="000000">
                      <a:alpha val="43137"/>
                    </a:srgbClr>
                  </a:outerShdw>
                </a:effectLst>
                <a:latin typeface="+mj-lt"/>
                <a:ea typeface="+mj-ea"/>
                <a:cs typeface="+mj-cs"/>
              </a:rPr>
              <a:t>Reasons for under-vaccination</a:t>
            </a:r>
            <a:endParaRPr lang="en-GB" sz="1600">
              <a:solidFill>
                <a:srgbClr val="FFFFFF"/>
              </a:solidFill>
              <a:effectLst>
                <a:outerShdw blurRad="38100" dist="38100" dir="2700000" algn="tl">
                  <a:srgbClr val="000000">
                    <a:alpha val="43137"/>
                  </a:srgbClr>
                </a:outerShdw>
              </a:effectLst>
              <a:latin typeface="+mj-lt"/>
              <a:ea typeface="+mj-ea"/>
              <a:cs typeface="+mj-cs"/>
            </a:endParaRPr>
          </a:p>
        </p:txBody>
      </p:sp>
      <p:cxnSp>
        <p:nvCxnSpPr>
          <p:cNvPr id="13" name="Straight Connector 12">
            <a:extLst>
              <a:ext uri="{FF2B5EF4-FFF2-40B4-BE49-F238E27FC236}">
                <a16:creationId xmlns:a16="http://schemas.microsoft.com/office/drawing/2014/main" id="{BE2A5F8D-D7F7-40B6-9568-193A3F588177}"/>
              </a:ext>
            </a:extLst>
          </p:cNvPr>
          <p:cNvCxnSpPr>
            <a:cxnSpLocks/>
          </p:cNvCxnSpPr>
          <p:nvPr/>
        </p:nvCxnSpPr>
        <p:spPr>
          <a:xfrm>
            <a:off x="2863876" y="2589371"/>
            <a:ext cx="11061" cy="1192639"/>
          </a:xfrm>
          <a:prstGeom prst="line">
            <a:avLst/>
          </a:prstGeom>
          <a:ln>
            <a:solidFill>
              <a:srgbClr val="FF0000"/>
            </a:solidFill>
            <a:prstDash val="dash"/>
          </a:ln>
        </p:spPr>
        <p:style>
          <a:lnRef idx="2">
            <a:schemeClr val="accent3"/>
          </a:lnRef>
          <a:fillRef idx="0">
            <a:schemeClr val="accent3"/>
          </a:fillRef>
          <a:effectRef idx="1">
            <a:schemeClr val="accent3"/>
          </a:effectRef>
          <a:fontRef idx="minor">
            <a:schemeClr val="tx1"/>
          </a:fontRef>
        </p:style>
      </p:cxnSp>
      <p:cxnSp>
        <p:nvCxnSpPr>
          <p:cNvPr id="14" name="Straight Connector 13">
            <a:extLst>
              <a:ext uri="{FF2B5EF4-FFF2-40B4-BE49-F238E27FC236}">
                <a16:creationId xmlns:a16="http://schemas.microsoft.com/office/drawing/2014/main" id="{29ADB7B4-D476-468F-BE81-FF7635B68F49}"/>
              </a:ext>
            </a:extLst>
          </p:cNvPr>
          <p:cNvCxnSpPr>
            <a:cxnSpLocks/>
          </p:cNvCxnSpPr>
          <p:nvPr/>
        </p:nvCxnSpPr>
        <p:spPr>
          <a:xfrm flipV="1">
            <a:off x="2874937" y="3017704"/>
            <a:ext cx="1465835" cy="756535"/>
          </a:xfrm>
          <a:prstGeom prst="line">
            <a:avLst/>
          </a:prstGeom>
          <a:ln>
            <a:solidFill>
              <a:srgbClr val="FF0000"/>
            </a:solidFill>
            <a:prstDash val="dash"/>
          </a:ln>
        </p:spPr>
        <p:style>
          <a:lnRef idx="2">
            <a:schemeClr val="accent3"/>
          </a:lnRef>
          <a:fillRef idx="0">
            <a:schemeClr val="accent3"/>
          </a:fillRef>
          <a:effectRef idx="1">
            <a:schemeClr val="accent3"/>
          </a:effectRef>
          <a:fontRef idx="minor">
            <a:schemeClr val="tx1"/>
          </a:fontRef>
        </p:style>
      </p:cxnSp>
      <p:sp>
        <p:nvSpPr>
          <p:cNvPr id="19" name="TextBox 18">
            <a:extLst>
              <a:ext uri="{FF2B5EF4-FFF2-40B4-BE49-F238E27FC236}">
                <a16:creationId xmlns:a16="http://schemas.microsoft.com/office/drawing/2014/main" id="{82BBF5F3-CB23-4BE1-9FF2-AE1386AB1CC2}"/>
              </a:ext>
            </a:extLst>
          </p:cNvPr>
          <p:cNvSpPr txBox="1"/>
          <p:nvPr/>
        </p:nvSpPr>
        <p:spPr>
          <a:xfrm>
            <a:off x="2987505" y="2933098"/>
            <a:ext cx="729503" cy="253916"/>
          </a:xfrm>
          <a:prstGeom prst="rect">
            <a:avLst/>
          </a:prstGeom>
          <a:noFill/>
        </p:spPr>
        <p:txBody>
          <a:bodyPr wrap="square" rtlCol="0">
            <a:spAutoFit/>
          </a:bodyPr>
          <a:lstStyle/>
          <a:p>
            <a:r>
              <a:rPr lang="en-GB" sz="1050"/>
              <a:t>12%</a:t>
            </a:r>
          </a:p>
        </p:txBody>
      </p:sp>
      <p:sp>
        <p:nvSpPr>
          <p:cNvPr id="20" name="TextBox 19">
            <a:extLst>
              <a:ext uri="{FF2B5EF4-FFF2-40B4-BE49-F238E27FC236}">
                <a16:creationId xmlns:a16="http://schemas.microsoft.com/office/drawing/2014/main" id="{5E99B040-8365-4FE4-BD7A-72588493E104}"/>
              </a:ext>
            </a:extLst>
          </p:cNvPr>
          <p:cNvSpPr txBox="1"/>
          <p:nvPr/>
        </p:nvSpPr>
        <p:spPr>
          <a:xfrm>
            <a:off x="3376087" y="3907182"/>
            <a:ext cx="729503" cy="253916"/>
          </a:xfrm>
          <a:prstGeom prst="rect">
            <a:avLst/>
          </a:prstGeom>
          <a:noFill/>
        </p:spPr>
        <p:txBody>
          <a:bodyPr wrap="square" rtlCol="0">
            <a:spAutoFit/>
          </a:bodyPr>
          <a:lstStyle/>
          <a:p>
            <a:r>
              <a:rPr lang="en-GB" sz="1050"/>
              <a:t>33%</a:t>
            </a:r>
          </a:p>
        </p:txBody>
      </p:sp>
      <p:sp>
        <p:nvSpPr>
          <p:cNvPr id="21" name="TextBox 20">
            <a:extLst>
              <a:ext uri="{FF2B5EF4-FFF2-40B4-BE49-F238E27FC236}">
                <a16:creationId xmlns:a16="http://schemas.microsoft.com/office/drawing/2014/main" id="{0F06EAC6-0A18-405F-BD27-627CA1C26716}"/>
              </a:ext>
            </a:extLst>
          </p:cNvPr>
          <p:cNvSpPr txBox="1"/>
          <p:nvPr/>
        </p:nvSpPr>
        <p:spPr>
          <a:xfrm>
            <a:off x="1488573" y="4086468"/>
            <a:ext cx="729503" cy="253916"/>
          </a:xfrm>
          <a:prstGeom prst="rect">
            <a:avLst/>
          </a:prstGeom>
          <a:noFill/>
        </p:spPr>
        <p:txBody>
          <a:bodyPr wrap="square" rtlCol="0">
            <a:spAutoFit/>
          </a:bodyPr>
          <a:lstStyle/>
          <a:p>
            <a:r>
              <a:rPr lang="en-GB" sz="1050"/>
              <a:t>32%</a:t>
            </a:r>
          </a:p>
        </p:txBody>
      </p:sp>
      <p:sp>
        <p:nvSpPr>
          <p:cNvPr id="22" name="TextBox 21">
            <a:extLst>
              <a:ext uri="{FF2B5EF4-FFF2-40B4-BE49-F238E27FC236}">
                <a16:creationId xmlns:a16="http://schemas.microsoft.com/office/drawing/2014/main" id="{A87F4A33-5648-4A1B-8880-94C2824699D0}"/>
              </a:ext>
            </a:extLst>
          </p:cNvPr>
          <p:cNvSpPr txBox="1"/>
          <p:nvPr/>
        </p:nvSpPr>
        <p:spPr>
          <a:xfrm>
            <a:off x="1482041" y="3403193"/>
            <a:ext cx="729503" cy="253916"/>
          </a:xfrm>
          <a:prstGeom prst="rect">
            <a:avLst/>
          </a:prstGeom>
          <a:noFill/>
        </p:spPr>
        <p:txBody>
          <a:bodyPr wrap="square" rtlCol="0">
            <a:spAutoFit/>
          </a:bodyPr>
          <a:lstStyle/>
          <a:p>
            <a:r>
              <a:rPr lang="en-GB" sz="1050"/>
              <a:t>13%</a:t>
            </a:r>
          </a:p>
        </p:txBody>
      </p:sp>
      <p:sp>
        <p:nvSpPr>
          <p:cNvPr id="23" name="TextBox 22">
            <a:extLst>
              <a:ext uri="{FF2B5EF4-FFF2-40B4-BE49-F238E27FC236}">
                <a16:creationId xmlns:a16="http://schemas.microsoft.com/office/drawing/2014/main" id="{88812983-F967-4369-8C90-FD7E3E1D3918}"/>
              </a:ext>
            </a:extLst>
          </p:cNvPr>
          <p:cNvSpPr txBox="1"/>
          <p:nvPr/>
        </p:nvSpPr>
        <p:spPr>
          <a:xfrm>
            <a:off x="2134372" y="3193386"/>
            <a:ext cx="729503" cy="253916"/>
          </a:xfrm>
          <a:prstGeom prst="rect">
            <a:avLst/>
          </a:prstGeom>
          <a:noFill/>
        </p:spPr>
        <p:txBody>
          <a:bodyPr wrap="square" rtlCol="0">
            <a:spAutoFit/>
          </a:bodyPr>
          <a:lstStyle/>
          <a:p>
            <a:r>
              <a:rPr lang="en-GB" sz="1050"/>
              <a:t>10%</a:t>
            </a:r>
          </a:p>
        </p:txBody>
      </p:sp>
      <p:sp>
        <p:nvSpPr>
          <p:cNvPr id="2" name="TextBox 1">
            <a:extLst>
              <a:ext uri="{FF2B5EF4-FFF2-40B4-BE49-F238E27FC236}">
                <a16:creationId xmlns:a16="http://schemas.microsoft.com/office/drawing/2014/main" id="{C90E75B6-0F46-4E28-8B4B-7B9367EF1A54}"/>
              </a:ext>
            </a:extLst>
          </p:cNvPr>
          <p:cNvSpPr txBox="1"/>
          <p:nvPr/>
        </p:nvSpPr>
        <p:spPr>
          <a:xfrm>
            <a:off x="158157" y="6166131"/>
            <a:ext cx="4813056" cy="276999"/>
          </a:xfrm>
          <a:prstGeom prst="rect">
            <a:avLst/>
          </a:prstGeom>
          <a:noFill/>
        </p:spPr>
        <p:txBody>
          <a:bodyPr wrap="square" rtlCol="0">
            <a:spAutoFit/>
          </a:bodyPr>
          <a:lstStyle/>
          <a:p>
            <a:r>
              <a:rPr lang="en-GB" sz="1200">
                <a:solidFill>
                  <a:schemeClr val="bg1"/>
                </a:solidFill>
              </a:rPr>
              <a:t>Concurrent Routine Immunisation monitoring data – Jan to Dec 2015</a:t>
            </a:r>
          </a:p>
        </p:txBody>
      </p:sp>
      <p:sp>
        <p:nvSpPr>
          <p:cNvPr id="26" name="Rectangle 25">
            <a:extLst>
              <a:ext uri="{FF2B5EF4-FFF2-40B4-BE49-F238E27FC236}">
                <a16:creationId xmlns:a16="http://schemas.microsoft.com/office/drawing/2014/main" id="{47C40A67-66AB-4A15-9489-3496F1CF035B}"/>
              </a:ext>
            </a:extLst>
          </p:cNvPr>
          <p:cNvSpPr/>
          <p:nvPr/>
        </p:nvSpPr>
        <p:spPr>
          <a:xfrm>
            <a:off x="611737" y="584673"/>
            <a:ext cx="5736676" cy="978729"/>
          </a:xfrm>
          <a:prstGeom prst="rect">
            <a:avLst/>
          </a:prstGeom>
        </p:spPr>
        <p:txBody>
          <a:bodyPr wrap="square">
            <a:spAutoFit/>
          </a:bodyPr>
          <a:lstStyle/>
          <a:p>
            <a:pPr defTabSz="913286">
              <a:lnSpc>
                <a:spcPct val="90000"/>
              </a:lnSpc>
              <a:spcBef>
                <a:spcPct val="0"/>
              </a:spcBef>
            </a:pPr>
            <a:r>
              <a:rPr lang="en-US" altLang="en-US" sz="3200" dirty="0">
                <a:solidFill>
                  <a:srgbClr val="FFFFFF"/>
                </a:solidFill>
                <a:effectLst>
                  <a:outerShdw blurRad="38100" dist="38100" dir="2700000" algn="tl">
                    <a:srgbClr val="000000">
                      <a:alpha val="43137"/>
                    </a:srgbClr>
                  </a:outerShdw>
                </a:effectLst>
                <a:latin typeface="+mj-lt"/>
                <a:ea typeface="+mj-ea"/>
                <a:cs typeface="+mj-cs"/>
              </a:rPr>
              <a:t>Demand challenges</a:t>
            </a:r>
          </a:p>
          <a:p>
            <a:pPr defTabSz="913286">
              <a:lnSpc>
                <a:spcPct val="90000"/>
              </a:lnSpc>
              <a:spcBef>
                <a:spcPct val="0"/>
              </a:spcBef>
            </a:pPr>
            <a:r>
              <a:rPr lang="en-US" sz="3200" b="1" dirty="0">
                <a:solidFill>
                  <a:srgbClr val="FFFFFF"/>
                </a:solidFill>
                <a:effectLst>
                  <a:outerShdw blurRad="38100" dist="38100" dir="2700000" algn="tl">
                    <a:srgbClr val="000000">
                      <a:alpha val="43137"/>
                    </a:srgbClr>
                  </a:outerShdw>
                </a:effectLst>
                <a:latin typeface="+mj-lt"/>
                <a:ea typeface="+mj-ea"/>
                <a:cs typeface="+mj-cs"/>
              </a:rPr>
              <a:t>Case: India</a:t>
            </a:r>
            <a:endParaRPr lang="en-GB" sz="3200" b="1" dirty="0">
              <a:solidFill>
                <a:srgbClr val="FFFFFF"/>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340135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31F477C-1999-4E2F-B1CE-558931A53299}"/>
              </a:ext>
            </a:extLst>
          </p:cNvPr>
          <p:cNvSpPr/>
          <p:nvPr/>
        </p:nvSpPr>
        <p:spPr>
          <a:xfrm>
            <a:off x="-1" y="48986"/>
            <a:ext cx="5745894" cy="6858000"/>
          </a:xfrm>
          <a:prstGeom prst="rect">
            <a:avLst/>
          </a:prstGeom>
          <a:gradFill flip="none" rotWithShape="1">
            <a:gsLst>
              <a:gs pos="100000">
                <a:srgbClr val="432818">
                  <a:alpha val="0"/>
                </a:srgbClr>
              </a:gs>
              <a:gs pos="63000">
                <a:srgbClr val="432818">
                  <a:alpha val="91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4" name="Slide Number Placeholder 3">
            <a:extLst>
              <a:ext uri="{FF2B5EF4-FFF2-40B4-BE49-F238E27FC236}">
                <a16:creationId xmlns:a16="http://schemas.microsoft.com/office/drawing/2014/main" id="{901C3C27-9612-4EE3-8451-FF6200A96425}"/>
              </a:ext>
            </a:extLst>
          </p:cNvPr>
          <p:cNvSpPr>
            <a:spLocks noGrp="1"/>
          </p:cNvSpPr>
          <p:nvPr>
            <p:ph type="sldNum" sz="quarter" idx="11"/>
          </p:nvPr>
        </p:nvSpPr>
        <p:spPr/>
        <p:txBody>
          <a:bodyPr/>
          <a:lstStyle/>
          <a:p>
            <a:pPr algn="l"/>
            <a:fld id="{733122C9-A0B9-462F-8757-0847AD287B63}" type="slidenum">
              <a:rPr lang="en-US" smtClean="0">
                <a:solidFill>
                  <a:srgbClr val="878787"/>
                </a:solidFill>
              </a:rPr>
              <a:pPr algn="l"/>
              <a:t>6</a:t>
            </a:fld>
            <a:endParaRPr lang="en-US">
              <a:solidFill>
                <a:srgbClr val="878787"/>
              </a:solidFill>
            </a:endParaRPr>
          </a:p>
        </p:txBody>
      </p:sp>
      <p:graphicFrame>
        <p:nvGraphicFramePr>
          <p:cNvPr id="6" name="Chart 5">
            <a:extLst>
              <a:ext uri="{FF2B5EF4-FFF2-40B4-BE49-F238E27FC236}">
                <a16:creationId xmlns:a16="http://schemas.microsoft.com/office/drawing/2014/main" id="{043A3DFB-1762-4EAB-AE44-8ECCC57CB5FE}"/>
              </a:ext>
            </a:extLst>
          </p:cNvPr>
          <p:cNvGraphicFramePr/>
          <p:nvPr/>
        </p:nvGraphicFramePr>
        <p:xfrm>
          <a:off x="-434400" y="2804438"/>
          <a:ext cx="6450224" cy="388748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7159AAB-0AEB-4E86-A636-A33A5C33BDBD}"/>
              </a:ext>
            </a:extLst>
          </p:cNvPr>
          <p:cNvSpPr txBox="1"/>
          <p:nvPr/>
        </p:nvSpPr>
        <p:spPr>
          <a:xfrm>
            <a:off x="3551780" y="4746053"/>
            <a:ext cx="1327355" cy="461665"/>
          </a:xfrm>
          <a:prstGeom prst="rect">
            <a:avLst/>
          </a:prstGeom>
          <a:noFill/>
        </p:spPr>
        <p:txBody>
          <a:bodyPr wrap="square" rtlCol="0">
            <a:spAutoFit/>
          </a:bodyPr>
          <a:lstStyle/>
          <a:p>
            <a:pPr defTabSz="457200"/>
            <a:r>
              <a:rPr lang="en-GB" sz="1200">
                <a:solidFill>
                  <a:prstClr val="white"/>
                </a:solidFill>
              </a:rPr>
              <a:t>Lack of knowledge</a:t>
            </a:r>
          </a:p>
        </p:txBody>
      </p:sp>
      <p:sp>
        <p:nvSpPr>
          <p:cNvPr id="8" name="TextBox 7">
            <a:extLst>
              <a:ext uri="{FF2B5EF4-FFF2-40B4-BE49-F238E27FC236}">
                <a16:creationId xmlns:a16="http://schemas.microsoft.com/office/drawing/2014/main" id="{C7E69821-7880-4C17-B6F6-3AC4CFC50B64}"/>
              </a:ext>
            </a:extLst>
          </p:cNvPr>
          <p:cNvSpPr txBox="1"/>
          <p:nvPr/>
        </p:nvSpPr>
        <p:spPr>
          <a:xfrm>
            <a:off x="3898490" y="2740705"/>
            <a:ext cx="1602303" cy="276999"/>
          </a:xfrm>
          <a:prstGeom prst="rect">
            <a:avLst/>
          </a:prstGeom>
          <a:noFill/>
        </p:spPr>
        <p:txBody>
          <a:bodyPr wrap="square" rtlCol="0">
            <a:spAutoFit/>
          </a:bodyPr>
          <a:lstStyle/>
          <a:p>
            <a:pPr defTabSz="457200"/>
            <a:r>
              <a:rPr lang="en-GB" sz="1200">
                <a:solidFill>
                  <a:prstClr val="white"/>
                </a:solidFill>
              </a:rPr>
              <a:t>Service delivery</a:t>
            </a:r>
          </a:p>
        </p:txBody>
      </p:sp>
      <p:sp>
        <p:nvSpPr>
          <p:cNvPr id="9" name="TextBox 8">
            <a:extLst>
              <a:ext uri="{FF2B5EF4-FFF2-40B4-BE49-F238E27FC236}">
                <a16:creationId xmlns:a16="http://schemas.microsoft.com/office/drawing/2014/main" id="{146E60F2-AE47-4A91-992C-6FA194B0399E}"/>
              </a:ext>
            </a:extLst>
          </p:cNvPr>
          <p:cNvSpPr txBox="1"/>
          <p:nvPr/>
        </p:nvSpPr>
        <p:spPr>
          <a:xfrm>
            <a:off x="96202" y="3907182"/>
            <a:ext cx="1031071" cy="461665"/>
          </a:xfrm>
          <a:prstGeom prst="rect">
            <a:avLst/>
          </a:prstGeom>
          <a:noFill/>
        </p:spPr>
        <p:txBody>
          <a:bodyPr wrap="square" rtlCol="0">
            <a:spAutoFit/>
          </a:bodyPr>
          <a:lstStyle/>
          <a:p>
            <a:pPr defTabSz="457200"/>
            <a:r>
              <a:rPr lang="en-GB" sz="1200">
                <a:solidFill>
                  <a:prstClr val="white"/>
                </a:solidFill>
              </a:rPr>
              <a:t>Mistrust or fear</a:t>
            </a:r>
          </a:p>
        </p:txBody>
      </p:sp>
      <p:sp>
        <p:nvSpPr>
          <p:cNvPr id="10" name="TextBox 9">
            <a:extLst>
              <a:ext uri="{FF2B5EF4-FFF2-40B4-BE49-F238E27FC236}">
                <a16:creationId xmlns:a16="http://schemas.microsoft.com/office/drawing/2014/main" id="{568BA68E-7A5F-4A39-9358-8DCB667CD449}"/>
              </a:ext>
            </a:extLst>
          </p:cNvPr>
          <p:cNvSpPr txBox="1"/>
          <p:nvPr/>
        </p:nvSpPr>
        <p:spPr>
          <a:xfrm>
            <a:off x="363758" y="3078811"/>
            <a:ext cx="1527030" cy="276999"/>
          </a:xfrm>
          <a:prstGeom prst="rect">
            <a:avLst/>
          </a:prstGeom>
          <a:noFill/>
        </p:spPr>
        <p:txBody>
          <a:bodyPr wrap="square" rtlCol="0">
            <a:spAutoFit/>
          </a:bodyPr>
          <a:lstStyle/>
          <a:p>
            <a:pPr defTabSz="457200"/>
            <a:r>
              <a:rPr lang="en-GB" sz="1200">
                <a:solidFill>
                  <a:prstClr val="white"/>
                </a:solidFill>
              </a:rPr>
              <a:t>Child travelling</a:t>
            </a:r>
          </a:p>
        </p:txBody>
      </p:sp>
      <p:sp>
        <p:nvSpPr>
          <p:cNvPr id="12" name="TextBox 11">
            <a:extLst>
              <a:ext uri="{FF2B5EF4-FFF2-40B4-BE49-F238E27FC236}">
                <a16:creationId xmlns:a16="http://schemas.microsoft.com/office/drawing/2014/main" id="{805C427F-8A6E-446C-8AFF-81762E08FC56}"/>
              </a:ext>
            </a:extLst>
          </p:cNvPr>
          <p:cNvSpPr txBox="1"/>
          <p:nvPr/>
        </p:nvSpPr>
        <p:spPr>
          <a:xfrm>
            <a:off x="2049150" y="2879205"/>
            <a:ext cx="1031071" cy="276999"/>
          </a:xfrm>
          <a:prstGeom prst="rect">
            <a:avLst/>
          </a:prstGeom>
          <a:noFill/>
        </p:spPr>
        <p:txBody>
          <a:bodyPr wrap="square" rtlCol="0">
            <a:spAutoFit/>
          </a:bodyPr>
          <a:lstStyle/>
          <a:p>
            <a:pPr defTabSz="457200"/>
            <a:r>
              <a:rPr lang="en-GB" sz="1200">
                <a:solidFill>
                  <a:prstClr val="white"/>
                </a:solidFill>
              </a:rPr>
              <a:t>Other</a:t>
            </a:r>
          </a:p>
        </p:txBody>
      </p:sp>
      <p:sp>
        <p:nvSpPr>
          <p:cNvPr id="16" name="Rectangle 15">
            <a:extLst>
              <a:ext uri="{FF2B5EF4-FFF2-40B4-BE49-F238E27FC236}">
                <a16:creationId xmlns:a16="http://schemas.microsoft.com/office/drawing/2014/main" id="{0C254F25-FF54-4E10-9D61-56ACF5881F75}"/>
              </a:ext>
            </a:extLst>
          </p:cNvPr>
          <p:cNvSpPr/>
          <p:nvPr/>
        </p:nvSpPr>
        <p:spPr>
          <a:xfrm>
            <a:off x="562540" y="977013"/>
            <a:ext cx="4849281" cy="646331"/>
          </a:xfrm>
          <a:prstGeom prst="rect">
            <a:avLst/>
          </a:prstGeom>
        </p:spPr>
        <p:txBody>
          <a:bodyPr wrap="square">
            <a:spAutoFit/>
          </a:bodyPr>
          <a:lstStyle/>
          <a:p>
            <a:pPr defTabSz="913286">
              <a:lnSpc>
                <a:spcPct val="90000"/>
              </a:lnSpc>
              <a:spcBef>
                <a:spcPct val="0"/>
              </a:spcBef>
            </a:pPr>
            <a:r>
              <a:rPr lang="en-US" altLang="en-US" sz="3200">
                <a:solidFill>
                  <a:srgbClr val="FFFFFF"/>
                </a:solidFill>
                <a:effectLst>
                  <a:outerShdw blurRad="38100" dist="38100" dir="2700000" algn="tl">
                    <a:srgbClr val="000000">
                      <a:alpha val="43137"/>
                    </a:srgbClr>
                  </a:outerShdw>
                </a:effectLst>
              </a:rPr>
              <a:t>… and </a:t>
            </a:r>
            <a:r>
              <a:rPr lang="en-US" altLang="en-US" sz="4000" b="1">
                <a:solidFill>
                  <a:srgbClr val="FFFFFF"/>
                </a:solidFill>
                <a:effectLst>
                  <a:outerShdw blurRad="38100" dist="38100" dir="2700000" algn="tl">
                    <a:srgbClr val="000000">
                      <a:alpha val="43137"/>
                    </a:srgbClr>
                  </a:outerShdw>
                </a:effectLst>
              </a:rPr>
              <a:t>in India</a:t>
            </a:r>
            <a:endParaRPr lang="en-GB" sz="4000" b="1">
              <a:solidFill>
                <a:srgbClr val="FFFFFF"/>
              </a:solidFill>
              <a:effectLst>
                <a:outerShdw blurRad="38100" dist="38100" dir="2700000" algn="tl">
                  <a:srgbClr val="000000">
                    <a:alpha val="43137"/>
                  </a:srgbClr>
                </a:outerShdw>
              </a:effectLst>
            </a:endParaRPr>
          </a:p>
        </p:txBody>
      </p:sp>
      <p:sp>
        <p:nvSpPr>
          <p:cNvPr id="17" name="Rectangle 16">
            <a:extLst>
              <a:ext uri="{FF2B5EF4-FFF2-40B4-BE49-F238E27FC236}">
                <a16:creationId xmlns:a16="http://schemas.microsoft.com/office/drawing/2014/main" id="{36603EE4-9B16-4A64-99DA-C6002D3CC52A}"/>
              </a:ext>
            </a:extLst>
          </p:cNvPr>
          <p:cNvSpPr/>
          <p:nvPr/>
        </p:nvSpPr>
        <p:spPr>
          <a:xfrm>
            <a:off x="655580" y="5373417"/>
            <a:ext cx="4849281" cy="313932"/>
          </a:xfrm>
          <a:prstGeom prst="rect">
            <a:avLst/>
          </a:prstGeom>
        </p:spPr>
        <p:txBody>
          <a:bodyPr wrap="square">
            <a:spAutoFit/>
          </a:bodyPr>
          <a:lstStyle/>
          <a:p>
            <a:pPr defTabSz="913286">
              <a:lnSpc>
                <a:spcPct val="90000"/>
              </a:lnSpc>
              <a:spcBef>
                <a:spcPct val="0"/>
              </a:spcBef>
            </a:pPr>
            <a:r>
              <a:rPr lang="en-US" altLang="en-US" sz="1600">
                <a:solidFill>
                  <a:srgbClr val="FFFFFF"/>
                </a:solidFill>
                <a:effectLst>
                  <a:outerShdw blurRad="38100" dist="38100" dir="2700000" algn="tl">
                    <a:srgbClr val="000000">
                      <a:alpha val="43137"/>
                    </a:srgbClr>
                  </a:outerShdw>
                </a:effectLst>
              </a:rPr>
              <a:t>Reasons for under-vaccination</a:t>
            </a:r>
            <a:endParaRPr lang="en-GB" sz="1600">
              <a:solidFill>
                <a:srgbClr val="FFFFFF"/>
              </a:solidFill>
              <a:effectLst>
                <a:outerShdw blurRad="38100" dist="38100" dir="2700000" algn="tl">
                  <a:srgbClr val="000000">
                    <a:alpha val="43137"/>
                  </a:srgbClr>
                </a:outerShdw>
              </a:effectLst>
            </a:endParaRPr>
          </a:p>
        </p:txBody>
      </p:sp>
      <p:cxnSp>
        <p:nvCxnSpPr>
          <p:cNvPr id="13" name="Straight Connector 12">
            <a:extLst>
              <a:ext uri="{FF2B5EF4-FFF2-40B4-BE49-F238E27FC236}">
                <a16:creationId xmlns:a16="http://schemas.microsoft.com/office/drawing/2014/main" id="{BE2A5F8D-D7F7-40B6-9568-193A3F588177}"/>
              </a:ext>
            </a:extLst>
          </p:cNvPr>
          <p:cNvCxnSpPr>
            <a:cxnSpLocks/>
          </p:cNvCxnSpPr>
          <p:nvPr/>
        </p:nvCxnSpPr>
        <p:spPr>
          <a:xfrm>
            <a:off x="2863876" y="2589371"/>
            <a:ext cx="11061" cy="1192639"/>
          </a:xfrm>
          <a:prstGeom prst="line">
            <a:avLst/>
          </a:prstGeom>
          <a:ln>
            <a:solidFill>
              <a:srgbClr val="FF0000"/>
            </a:solidFill>
            <a:prstDash val="dash"/>
          </a:ln>
        </p:spPr>
        <p:style>
          <a:lnRef idx="2">
            <a:schemeClr val="accent3"/>
          </a:lnRef>
          <a:fillRef idx="0">
            <a:schemeClr val="accent3"/>
          </a:fillRef>
          <a:effectRef idx="1">
            <a:schemeClr val="accent3"/>
          </a:effectRef>
          <a:fontRef idx="minor">
            <a:schemeClr val="tx1"/>
          </a:fontRef>
        </p:style>
      </p:cxnSp>
      <p:cxnSp>
        <p:nvCxnSpPr>
          <p:cNvPr id="14" name="Straight Connector 13">
            <a:extLst>
              <a:ext uri="{FF2B5EF4-FFF2-40B4-BE49-F238E27FC236}">
                <a16:creationId xmlns:a16="http://schemas.microsoft.com/office/drawing/2014/main" id="{29ADB7B4-D476-468F-BE81-FF7635B68F49}"/>
              </a:ext>
            </a:extLst>
          </p:cNvPr>
          <p:cNvCxnSpPr>
            <a:cxnSpLocks/>
          </p:cNvCxnSpPr>
          <p:nvPr/>
        </p:nvCxnSpPr>
        <p:spPr>
          <a:xfrm flipV="1">
            <a:off x="2874937" y="3017704"/>
            <a:ext cx="1465835" cy="756535"/>
          </a:xfrm>
          <a:prstGeom prst="line">
            <a:avLst/>
          </a:prstGeom>
          <a:ln>
            <a:solidFill>
              <a:srgbClr val="FF0000"/>
            </a:solidFill>
            <a:prstDash val="dash"/>
          </a:ln>
        </p:spPr>
        <p:style>
          <a:lnRef idx="2">
            <a:schemeClr val="accent3"/>
          </a:lnRef>
          <a:fillRef idx="0">
            <a:schemeClr val="accent3"/>
          </a:fillRef>
          <a:effectRef idx="1">
            <a:schemeClr val="accent3"/>
          </a:effectRef>
          <a:fontRef idx="minor">
            <a:schemeClr val="tx1"/>
          </a:fontRef>
        </p:style>
      </p:cxnSp>
      <p:sp>
        <p:nvSpPr>
          <p:cNvPr id="19" name="TextBox 18">
            <a:extLst>
              <a:ext uri="{FF2B5EF4-FFF2-40B4-BE49-F238E27FC236}">
                <a16:creationId xmlns:a16="http://schemas.microsoft.com/office/drawing/2014/main" id="{82BBF5F3-CB23-4BE1-9FF2-AE1386AB1CC2}"/>
              </a:ext>
            </a:extLst>
          </p:cNvPr>
          <p:cNvSpPr txBox="1"/>
          <p:nvPr/>
        </p:nvSpPr>
        <p:spPr>
          <a:xfrm>
            <a:off x="2987505" y="2933098"/>
            <a:ext cx="729503" cy="253916"/>
          </a:xfrm>
          <a:prstGeom prst="rect">
            <a:avLst/>
          </a:prstGeom>
          <a:noFill/>
        </p:spPr>
        <p:txBody>
          <a:bodyPr wrap="square" rtlCol="0">
            <a:spAutoFit/>
          </a:bodyPr>
          <a:lstStyle/>
          <a:p>
            <a:pPr defTabSz="457200"/>
            <a:r>
              <a:rPr lang="en-GB" sz="1050">
                <a:solidFill>
                  <a:prstClr val="black"/>
                </a:solidFill>
              </a:rPr>
              <a:t>12%</a:t>
            </a:r>
          </a:p>
        </p:txBody>
      </p:sp>
      <p:sp>
        <p:nvSpPr>
          <p:cNvPr id="20" name="TextBox 19">
            <a:extLst>
              <a:ext uri="{FF2B5EF4-FFF2-40B4-BE49-F238E27FC236}">
                <a16:creationId xmlns:a16="http://schemas.microsoft.com/office/drawing/2014/main" id="{5E99B040-8365-4FE4-BD7A-72588493E104}"/>
              </a:ext>
            </a:extLst>
          </p:cNvPr>
          <p:cNvSpPr txBox="1"/>
          <p:nvPr/>
        </p:nvSpPr>
        <p:spPr>
          <a:xfrm>
            <a:off x="3376087" y="3907182"/>
            <a:ext cx="729503" cy="253916"/>
          </a:xfrm>
          <a:prstGeom prst="rect">
            <a:avLst/>
          </a:prstGeom>
          <a:noFill/>
        </p:spPr>
        <p:txBody>
          <a:bodyPr wrap="square" rtlCol="0">
            <a:spAutoFit/>
          </a:bodyPr>
          <a:lstStyle/>
          <a:p>
            <a:pPr defTabSz="457200"/>
            <a:r>
              <a:rPr lang="en-GB" sz="1050">
                <a:solidFill>
                  <a:prstClr val="black"/>
                </a:solidFill>
              </a:rPr>
              <a:t>33%</a:t>
            </a:r>
          </a:p>
        </p:txBody>
      </p:sp>
      <p:sp>
        <p:nvSpPr>
          <p:cNvPr id="22" name="TextBox 21">
            <a:extLst>
              <a:ext uri="{FF2B5EF4-FFF2-40B4-BE49-F238E27FC236}">
                <a16:creationId xmlns:a16="http://schemas.microsoft.com/office/drawing/2014/main" id="{A87F4A33-5648-4A1B-8880-94C2824699D0}"/>
              </a:ext>
            </a:extLst>
          </p:cNvPr>
          <p:cNvSpPr txBox="1"/>
          <p:nvPr/>
        </p:nvSpPr>
        <p:spPr>
          <a:xfrm>
            <a:off x="1482041" y="3403193"/>
            <a:ext cx="729503" cy="253916"/>
          </a:xfrm>
          <a:prstGeom prst="rect">
            <a:avLst/>
          </a:prstGeom>
          <a:noFill/>
        </p:spPr>
        <p:txBody>
          <a:bodyPr wrap="square" rtlCol="0">
            <a:spAutoFit/>
          </a:bodyPr>
          <a:lstStyle/>
          <a:p>
            <a:pPr defTabSz="457200"/>
            <a:r>
              <a:rPr lang="en-GB" sz="1050">
                <a:solidFill>
                  <a:prstClr val="black"/>
                </a:solidFill>
              </a:rPr>
              <a:t>13%</a:t>
            </a:r>
          </a:p>
        </p:txBody>
      </p:sp>
      <p:sp>
        <p:nvSpPr>
          <p:cNvPr id="23" name="TextBox 22">
            <a:extLst>
              <a:ext uri="{FF2B5EF4-FFF2-40B4-BE49-F238E27FC236}">
                <a16:creationId xmlns:a16="http://schemas.microsoft.com/office/drawing/2014/main" id="{88812983-F967-4369-8C90-FD7E3E1D3918}"/>
              </a:ext>
            </a:extLst>
          </p:cNvPr>
          <p:cNvSpPr txBox="1"/>
          <p:nvPr/>
        </p:nvSpPr>
        <p:spPr>
          <a:xfrm>
            <a:off x="2134372" y="3193386"/>
            <a:ext cx="729503" cy="253916"/>
          </a:xfrm>
          <a:prstGeom prst="rect">
            <a:avLst/>
          </a:prstGeom>
          <a:noFill/>
        </p:spPr>
        <p:txBody>
          <a:bodyPr wrap="square" rtlCol="0">
            <a:spAutoFit/>
          </a:bodyPr>
          <a:lstStyle/>
          <a:p>
            <a:pPr defTabSz="457200"/>
            <a:r>
              <a:rPr lang="en-GB" sz="1050">
                <a:solidFill>
                  <a:prstClr val="black"/>
                </a:solidFill>
              </a:rPr>
              <a:t>10%</a:t>
            </a:r>
          </a:p>
        </p:txBody>
      </p:sp>
      <p:grpSp>
        <p:nvGrpSpPr>
          <p:cNvPr id="3" name="Group 2">
            <a:extLst>
              <a:ext uri="{FF2B5EF4-FFF2-40B4-BE49-F238E27FC236}">
                <a16:creationId xmlns:a16="http://schemas.microsoft.com/office/drawing/2014/main" id="{7FEEAABF-086C-4575-AF1B-739A162C62F6}"/>
              </a:ext>
            </a:extLst>
          </p:cNvPr>
          <p:cNvGrpSpPr/>
          <p:nvPr/>
        </p:nvGrpSpPr>
        <p:grpSpPr>
          <a:xfrm>
            <a:off x="8196939" y="3657109"/>
            <a:ext cx="3898859" cy="2374232"/>
            <a:chOff x="8196939" y="3920912"/>
            <a:chExt cx="3898859" cy="1856513"/>
          </a:xfrm>
        </p:grpSpPr>
        <p:sp>
          <p:nvSpPr>
            <p:cNvPr id="28" name="Rectangle 27">
              <a:extLst>
                <a:ext uri="{FF2B5EF4-FFF2-40B4-BE49-F238E27FC236}">
                  <a16:creationId xmlns:a16="http://schemas.microsoft.com/office/drawing/2014/main" id="{955D4726-BD1C-4F83-BBE9-B74DAA243E93}"/>
                </a:ext>
              </a:extLst>
            </p:cNvPr>
            <p:cNvSpPr/>
            <p:nvPr/>
          </p:nvSpPr>
          <p:spPr>
            <a:xfrm rot="10800000">
              <a:off x="8196939" y="3920912"/>
              <a:ext cx="3878585" cy="1650282"/>
            </a:xfrm>
            <a:prstGeom prst="rect">
              <a:avLst/>
            </a:prstGeom>
            <a:gradFill>
              <a:gsLst>
                <a:gs pos="100000">
                  <a:srgbClr val="432818">
                    <a:alpha val="0"/>
                  </a:srgbClr>
                </a:gs>
                <a:gs pos="2000">
                  <a:srgbClr val="432818">
                    <a:alpha val="91000"/>
                  </a:srgbClr>
                </a:gs>
              </a:gsLst>
              <a:lin ang="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27" name="TextBox 26">
              <a:extLst>
                <a:ext uri="{FF2B5EF4-FFF2-40B4-BE49-F238E27FC236}">
                  <a16:creationId xmlns:a16="http://schemas.microsoft.com/office/drawing/2014/main" id="{0C16105D-B5F8-4F21-B5B5-7E8D68775AD9}"/>
                </a:ext>
              </a:extLst>
            </p:cNvPr>
            <p:cNvSpPr txBox="1"/>
            <p:nvPr/>
          </p:nvSpPr>
          <p:spPr>
            <a:xfrm>
              <a:off x="9281152" y="4023099"/>
              <a:ext cx="2814646" cy="1754326"/>
            </a:xfrm>
            <a:prstGeom prst="rect">
              <a:avLst/>
            </a:prstGeom>
            <a:noFill/>
          </p:spPr>
          <p:txBody>
            <a:bodyPr wrap="square" rtlCol="0">
              <a:spAutoFit/>
            </a:bodyPr>
            <a:lstStyle/>
            <a:p>
              <a:pPr defTabSz="457200"/>
              <a:r>
                <a:rPr lang="en-GB">
                  <a:solidFill>
                    <a:prstClr val="white"/>
                  </a:solidFill>
                </a:rPr>
                <a:t>More systematic collection and analysis of ‘reasons for missed children’ and other demand data needed to guide interventions</a:t>
              </a:r>
            </a:p>
          </p:txBody>
        </p:sp>
        <p:pic>
          <p:nvPicPr>
            <p:cNvPr id="25" name="Graphic 24">
              <a:extLst>
                <a:ext uri="{FF2B5EF4-FFF2-40B4-BE49-F238E27FC236}">
                  <a16:creationId xmlns:a16="http://schemas.microsoft.com/office/drawing/2014/main" id="{F4FFF8D2-A2AA-4E6F-A759-564FBFFB6E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45173" y="4213426"/>
              <a:ext cx="952500" cy="952500"/>
            </a:xfrm>
            <a:prstGeom prst="rect">
              <a:avLst/>
            </a:prstGeom>
          </p:spPr>
        </p:pic>
      </p:grpSp>
      <p:sp>
        <p:nvSpPr>
          <p:cNvPr id="2" name="TextBox 1">
            <a:extLst>
              <a:ext uri="{FF2B5EF4-FFF2-40B4-BE49-F238E27FC236}">
                <a16:creationId xmlns:a16="http://schemas.microsoft.com/office/drawing/2014/main" id="{C90E75B6-0F46-4E28-8B4B-7B9367EF1A54}"/>
              </a:ext>
            </a:extLst>
          </p:cNvPr>
          <p:cNvSpPr txBox="1"/>
          <p:nvPr/>
        </p:nvSpPr>
        <p:spPr>
          <a:xfrm>
            <a:off x="158157" y="6166131"/>
            <a:ext cx="4813056" cy="276999"/>
          </a:xfrm>
          <a:prstGeom prst="rect">
            <a:avLst/>
          </a:prstGeom>
          <a:noFill/>
        </p:spPr>
        <p:txBody>
          <a:bodyPr wrap="square" rtlCol="0">
            <a:spAutoFit/>
          </a:bodyPr>
          <a:lstStyle/>
          <a:p>
            <a:pPr defTabSz="457200"/>
            <a:r>
              <a:rPr lang="en-GB" sz="1200">
                <a:solidFill>
                  <a:prstClr val="white"/>
                </a:solidFill>
              </a:rPr>
              <a:t>Concurrent Routine Immunisation monitoring data – Jan to Dec 2015</a:t>
            </a:r>
          </a:p>
        </p:txBody>
      </p:sp>
      <p:pic>
        <p:nvPicPr>
          <p:cNvPr id="18" name="Picture 17">
            <a:extLst>
              <a:ext uri="{FF2B5EF4-FFF2-40B4-BE49-F238E27FC236}">
                <a16:creationId xmlns:a16="http://schemas.microsoft.com/office/drawing/2014/main" id="{2609394A-852C-4749-86C3-CCE645D66825}"/>
              </a:ext>
            </a:extLst>
          </p:cNvPr>
          <p:cNvPicPr>
            <a:picLocks noChangeAspect="1"/>
          </p:cNvPicPr>
          <p:nvPr/>
        </p:nvPicPr>
        <p:blipFill>
          <a:blip r:embed="rId6"/>
          <a:stretch>
            <a:fillRect/>
          </a:stretch>
        </p:blipFill>
        <p:spPr>
          <a:xfrm>
            <a:off x="10352650" y="5934371"/>
            <a:ext cx="1399469" cy="528300"/>
          </a:xfrm>
          <a:prstGeom prst="rect">
            <a:avLst/>
          </a:prstGeom>
          <a:effectLst>
            <a:outerShdw blurRad="50800" dist="38100" dir="2700000" algn="tl" rotWithShape="0">
              <a:prstClr val="black">
                <a:alpha val="40000"/>
              </a:prstClr>
            </a:outerShdw>
          </a:effectLst>
        </p:spPr>
      </p:pic>
      <p:pic>
        <p:nvPicPr>
          <p:cNvPr id="29" name="Picture 28" descr="A person wearing a hat&#10;&#10;Description generated with very high confidence">
            <a:extLst>
              <a:ext uri="{FF2B5EF4-FFF2-40B4-BE49-F238E27FC236}">
                <a16:creationId xmlns:a16="http://schemas.microsoft.com/office/drawing/2014/main" id="{FFE031E0-E6AA-49F7-BB27-94D8722AB775}"/>
              </a:ext>
            </a:extLst>
          </p:cNvPr>
          <p:cNvPicPr>
            <a:picLocks noChangeAspect="1"/>
          </p:cNvPicPr>
          <p:nvPr/>
        </p:nvPicPr>
        <p:blipFill rotWithShape="1">
          <a:blip r:embed="rId7"/>
          <a:srcRect l="-5712" t="432" r="17687" b="26294"/>
          <a:stretch/>
        </p:blipFill>
        <p:spPr>
          <a:xfrm>
            <a:off x="4561" y="0"/>
            <a:ext cx="12186862" cy="6906986"/>
          </a:xfrm>
          <a:prstGeom prst="rect">
            <a:avLst/>
          </a:prstGeom>
        </p:spPr>
      </p:pic>
      <p:sp>
        <p:nvSpPr>
          <p:cNvPr id="30" name="Rectangle 29">
            <a:extLst>
              <a:ext uri="{FF2B5EF4-FFF2-40B4-BE49-F238E27FC236}">
                <a16:creationId xmlns:a16="http://schemas.microsoft.com/office/drawing/2014/main" id="{8263A5E9-5990-49AD-BB52-7B7EBAD31EEC}"/>
              </a:ext>
            </a:extLst>
          </p:cNvPr>
          <p:cNvSpPr/>
          <p:nvPr/>
        </p:nvSpPr>
        <p:spPr>
          <a:xfrm>
            <a:off x="-53928" y="0"/>
            <a:ext cx="5259422" cy="6906986"/>
          </a:xfrm>
          <a:prstGeom prst="rect">
            <a:avLst/>
          </a:prstGeom>
          <a:gradFill flip="none" rotWithShape="1">
            <a:gsLst>
              <a:gs pos="100000">
                <a:srgbClr val="432818">
                  <a:alpha val="0"/>
                </a:srgbClr>
              </a:gs>
              <a:gs pos="63000">
                <a:srgbClr val="432818">
                  <a:alpha val="91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graphicFrame>
        <p:nvGraphicFramePr>
          <p:cNvPr id="31" name="Chart 30">
            <a:extLst>
              <a:ext uri="{FF2B5EF4-FFF2-40B4-BE49-F238E27FC236}">
                <a16:creationId xmlns:a16="http://schemas.microsoft.com/office/drawing/2014/main" id="{ACAF2AA6-4BD8-4CC2-B88A-0E37522C2BA2}"/>
              </a:ext>
            </a:extLst>
          </p:cNvPr>
          <p:cNvGraphicFramePr/>
          <p:nvPr/>
        </p:nvGraphicFramePr>
        <p:xfrm>
          <a:off x="186345" y="1955742"/>
          <a:ext cx="7161879" cy="243815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Chart 31">
            <a:extLst>
              <a:ext uri="{FF2B5EF4-FFF2-40B4-BE49-F238E27FC236}">
                <a16:creationId xmlns:a16="http://schemas.microsoft.com/office/drawing/2014/main" id="{E1B42D8F-EBC5-497A-AE67-F02BACD43BD6}"/>
              </a:ext>
            </a:extLst>
          </p:cNvPr>
          <p:cNvGraphicFramePr/>
          <p:nvPr/>
        </p:nvGraphicFramePr>
        <p:xfrm>
          <a:off x="599768" y="4364835"/>
          <a:ext cx="6264771" cy="2431988"/>
        </p:xfrm>
        <a:graphic>
          <a:graphicData uri="http://schemas.openxmlformats.org/drawingml/2006/chart">
            <c:chart xmlns:c="http://schemas.openxmlformats.org/drawingml/2006/chart" xmlns:r="http://schemas.openxmlformats.org/officeDocument/2006/relationships" r:id="rId9"/>
          </a:graphicData>
        </a:graphic>
      </p:graphicFrame>
      <p:sp>
        <p:nvSpPr>
          <p:cNvPr id="34" name="Rectangle 33">
            <a:extLst>
              <a:ext uri="{FF2B5EF4-FFF2-40B4-BE49-F238E27FC236}">
                <a16:creationId xmlns:a16="http://schemas.microsoft.com/office/drawing/2014/main" id="{6A1ED98E-B7EE-43FF-A8F8-928AC4C284C5}"/>
              </a:ext>
            </a:extLst>
          </p:cNvPr>
          <p:cNvSpPr/>
          <p:nvPr/>
        </p:nvSpPr>
        <p:spPr>
          <a:xfrm>
            <a:off x="611737" y="533007"/>
            <a:ext cx="5255777" cy="978729"/>
          </a:xfrm>
          <a:prstGeom prst="rect">
            <a:avLst/>
          </a:prstGeom>
        </p:spPr>
        <p:txBody>
          <a:bodyPr wrap="square">
            <a:spAutoFit/>
          </a:bodyPr>
          <a:lstStyle/>
          <a:p>
            <a:pPr defTabSz="913286">
              <a:lnSpc>
                <a:spcPct val="90000"/>
              </a:lnSpc>
              <a:spcBef>
                <a:spcPct val="0"/>
              </a:spcBef>
            </a:pPr>
            <a:r>
              <a:rPr lang="en-US" altLang="en-US" sz="3200" dirty="0">
                <a:solidFill>
                  <a:srgbClr val="FFFFFF"/>
                </a:solidFill>
                <a:effectLst>
                  <a:outerShdw blurRad="38100" dist="38100" dir="2700000" algn="tl">
                    <a:srgbClr val="000000">
                      <a:alpha val="43137"/>
                    </a:srgbClr>
                  </a:outerShdw>
                </a:effectLst>
              </a:rPr>
              <a:t>Demand Challenges</a:t>
            </a:r>
          </a:p>
          <a:p>
            <a:pPr defTabSz="913286">
              <a:lnSpc>
                <a:spcPct val="90000"/>
              </a:lnSpc>
              <a:spcBef>
                <a:spcPct val="0"/>
              </a:spcBef>
            </a:pPr>
            <a:r>
              <a:rPr lang="en-US" altLang="en-US" sz="3200" dirty="0">
                <a:solidFill>
                  <a:srgbClr val="FFFFFF"/>
                </a:solidFill>
                <a:effectLst>
                  <a:outerShdw blurRad="38100" dist="38100" dir="2700000" algn="tl">
                    <a:srgbClr val="000000">
                      <a:alpha val="43137"/>
                    </a:srgbClr>
                  </a:outerShdw>
                </a:effectLst>
              </a:rPr>
              <a:t>Case: Pakistan</a:t>
            </a:r>
            <a:endParaRPr lang="en-GB" sz="3200" b="1" dirty="0">
              <a:solidFill>
                <a:srgbClr val="FFFFFF"/>
              </a:solidFill>
              <a:effectLst>
                <a:outerShdw blurRad="38100" dist="38100" dir="2700000" algn="tl">
                  <a:srgbClr val="000000">
                    <a:alpha val="43137"/>
                  </a:srgbClr>
                </a:outerShdw>
              </a:effectLst>
            </a:endParaRPr>
          </a:p>
        </p:txBody>
      </p:sp>
      <p:sp>
        <p:nvSpPr>
          <p:cNvPr id="46" name="TextBox 45">
            <a:extLst>
              <a:ext uri="{FF2B5EF4-FFF2-40B4-BE49-F238E27FC236}">
                <a16:creationId xmlns:a16="http://schemas.microsoft.com/office/drawing/2014/main" id="{FBF1DE8B-7E7C-4675-9A05-E510259D77BF}"/>
              </a:ext>
            </a:extLst>
          </p:cNvPr>
          <p:cNvSpPr txBox="1"/>
          <p:nvPr/>
        </p:nvSpPr>
        <p:spPr>
          <a:xfrm>
            <a:off x="665425" y="4067355"/>
            <a:ext cx="3453017" cy="338554"/>
          </a:xfrm>
          <a:prstGeom prst="rect">
            <a:avLst/>
          </a:prstGeom>
          <a:noFill/>
        </p:spPr>
        <p:txBody>
          <a:bodyPr wrap="square" rtlCol="0">
            <a:spAutoFit/>
          </a:bodyPr>
          <a:lstStyle/>
          <a:p>
            <a:pPr defTabSz="457200"/>
            <a:r>
              <a:rPr lang="en-GB" sz="1600" b="1" u="sng" dirty="0">
                <a:solidFill>
                  <a:prstClr val="white"/>
                </a:solidFill>
              </a:rPr>
              <a:t>UNDERVACCINATED</a:t>
            </a:r>
          </a:p>
        </p:txBody>
      </p:sp>
      <p:sp>
        <p:nvSpPr>
          <p:cNvPr id="47" name="TextBox 46">
            <a:extLst>
              <a:ext uri="{FF2B5EF4-FFF2-40B4-BE49-F238E27FC236}">
                <a16:creationId xmlns:a16="http://schemas.microsoft.com/office/drawing/2014/main" id="{2E459312-A750-49D7-9AEA-ADAF6A13EC58}"/>
              </a:ext>
            </a:extLst>
          </p:cNvPr>
          <p:cNvSpPr txBox="1"/>
          <p:nvPr/>
        </p:nvSpPr>
        <p:spPr>
          <a:xfrm>
            <a:off x="665425" y="1628183"/>
            <a:ext cx="3453017" cy="338554"/>
          </a:xfrm>
          <a:prstGeom prst="rect">
            <a:avLst/>
          </a:prstGeom>
          <a:noFill/>
        </p:spPr>
        <p:txBody>
          <a:bodyPr wrap="square" rtlCol="0">
            <a:spAutoFit/>
          </a:bodyPr>
          <a:lstStyle/>
          <a:p>
            <a:pPr defTabSz="457200"/>
            <a:r>
              <a:rPr lang="en-GB" sz="1600" b="1" u="sng" dirty="0">
                <a:solidFill>
                  <a:prstClr val="white"/>
                </a:solidFill>
              </a:rPr>
              <a:t>UNVACCINATED</a:t>
            </a:r>
          </a:p>
        </p:txBody>
      </p:sp>
      <p:sp>
        <p:nvSpPr>
          <p:cNvPr id="48" name="Rectangle 47">
            <a:extLst>
              <a:ext uri="{FF2B5EF4-FFF2-40B4-BE49-F238E27FC236}">
                <a16:creationId xmlns:a16="http://schemas.microsoft.com/office/drawing/2014/main" id="{2E1E8733-72A0-4206-BDF1-0471896DF75D}"/>
              </a:ext>
            </a:extLst>
          </p:cNvPr>
          <p:cNvSpPr/>
          <p:nvPr/>
        </p:nvSpPr>
        <p:spPr>
          <a:xfrm>
            <a:off x="230190" y="6395625"/>
            <a:ext cx="8569462" cy="307777"/>
          </a:xfrm>
          <a:prstGeom prst="rect">
            <a:avLst/>
          </a:prstGeom>
        </p:spPr>
        <p:txBody>
          <a:bodyPr wrap="none">
            <a:spAutoFit/>
          </a:bodyPr>
          <a:lstStyle/>
          <a:p>
            <a:pPr defTabSz="457200"/>
            <a:r>
              <a:rPr lang="en-GB" sz="1400" dirty="0">
                <a:solidFill>
                  <a:srgbClr val="FFFFFF"/>
                </a:solidFill>
                <a:effectLst>
                  <a:outerShdw blurRad="38100" dist="38100" dir="2700000" algn="tl">
                    <a:srgbClr val="000000">
                      <a:alpha val="43137"/>
                    </a:srgbClr>
                  </a:outerShdw>
                </a:effectLst>
              </a:rPr>
              <a:t>Reasons for non-vaccination and under vaccination among children in Pakistan, Riaz et al , Vaccine, 2018</a:t>
            </a:r>
          </a:p>
        </p:txBody>
      </p:sp>
      <p:grpSp>
        <p:nvGrpSpPr>
          <p:cNvPr id="24" name="Group 23"/>
          <p:cNvGrpSpPr/>
          <p:nvPr/>
        </p:nvGrpSpPr>
        <p:grpSpPr>
          <a:xfrm>
            <a:off x="438198" y="4301494"/>
            <a:ext cx="1151071" cy="1985131"/>
            <a:chOff x="7611398" y="4235718"/>
            <a:chExt cx="1151071" cy="1985131"/>
          </a:xfrm>
        </p:grpSpPr>
        <p:cxnSp>
          <p:nvCxnSpPr>
            <p:cNvPr id="49" name="Straight Arrow Connector 48"/>
            <p:cNvCxnSpPr/>
            <p:nvPr/>
          </p:nvCxnSpPr>
          <p:spPr>
            <a:xfrm rot="5400000" flipV="1">
              <a:off x="6639398" y="5207718"/>
              <a:ext cx="1944000" cy="0"/>
            </a:xfrm>
            <a:prstGeom prst="straightConnector1">
              <a:avLst/>
            </a:prstGeom>
            <a:ln w="57150">
              <a:gradFill flip="none" rotWithShape="1">
                <a:gsLst>
                  <a:gs pos="0">
                    <a:srgbClr val="00A03A"/>
                  </a:gs>
                  <a:gs pos="31000">
                    <a:srgbClr val="95D600"/>
                  </a:gs>
                  <a:gs pos="64000">
                    <a:srgbClr val="00A1DF"/>
                  </a:gs>
                  <a:gs pos="100000">
                    <a:srgbClr val="0070C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702901" y="5805351"/>
              <a:ext cx="1059568" cy="415498"/>
            </a:xfrm>
            <a:prstGeom prst="rect">
              <a:avLst/>
            </a:prstGeom>
            <a:noFill/>
          </p:spPr>
          <p:txBody>
            <a:bodyPr wrap="square" rtlCol="0">
              <a:spAutoFit/>
            </a:bodyPr>
            <a:lstStyle/>
            <a:p>
              <a:pPr defTabSz="457200"/>
              <a:r>
                <a:rPr lang="en-GB" sz="1050" b="1" dirty="0">
                  <a:solidFill>
                    <a:srgbClr val="005CB9"/>
                  </a:solidFill>
                </a:rPr>
                <a:t>Supply reasons</a:t>
              </a:r>
            </a:p>
          </p:txBody>
        </p:sp>
        <p:sp>
          <p:nvSpPr>
            <p:cNvPr id="51" name="TextBox 50"/>
            <p:cNvSpPr txBox="1"/>
            <p:nvPr/>
          </p:nvSpPr>
          <p:spPr>
            <a:xfrm>
              <a:off x="7665326" y="4253678"/>
              <a:ext cx="897667" cy="415498"/>
            </a:xfrm>
            <a:prstGeom prst="rect">
              <a:avLst/>
            </a:prstGeom>
            <a:noFill/>
          </p:spPr>
          <p:txBody>
            <a:bodyPr wrap="square" rtlCol="0">
              <a:spAutoFit/>
            </a:bodyPr>
            <a:lstStyle/>
            <a:p>
              <a:pPr defTabSz="457200"/>
              <a:r>
                <a:rPr lang="en-GB" sz="1050" b="1" dirty="0">
                  <a:solidFill>
                    <a:srgbClr val="00A03A"/>
                  </a:solidFill>
                </a:rPr>
                <a:t>Demand reasons</a:t>
              </a:r>
            </a:p>
          </p:txBody>
        </p:sp>
      </p:grpSp>
      <p:grpSp>
        <p:nvGrpSpPr>
          <p:cNvPr id="26" name="Group 25"/>
          <p:cNvGrpSpPr/>
          <p:nvPr/>
        </p:nvGrpSpPr>
        <p:grpSpPr>
          <a:xfrm>
            <a:off x="434381" y="2003132"/>
            <a:ext cx="1151071" cy="1985131"/>
            <a:chOff x="7637260" y="2066459"/>
            <a:chExt cx="1151071" cy="1985131"/>
          </a:xfrm>
        </p:grpSpPr>
        <p:cxnSp>
          <p:nvCxnSpPr>
            <p:cNvPr id="52" name="Straight Arrow Connector 51"/>
            <p:cNvCxnSpPr/>
            <p:nvPr/>
          </p:nvCxnSpPr>
          <p:spPr>
            <a:xfrm rot="5400000" flipV="1">
              <a:off x="6665260" y="3038459"/>
              <a:ext cx="1944000" cy="0"/>
            </a:xfrm>
            <a:prstGeom prst="straightConnector1">
              <a:avLst/>
            </a:prstGeom>
            <a:ln w="57150">
              <a:gradFill flip="none" rotWithShape="1">
                <a:gsLst>
                  <a:gs pos="0">
                    <a:srgbClr val="00A03A"/>
                  </a:gs>
                  <a:gs pos="31000">
                    <a:srgbClr val="95D600"/>
                  </a:gs>
                  <a:gs pos="64000">
                    <a:srgbClr val="00A1DF"/>
                  </a:gs>
                  <a:gs pos="100000">
                    <a:srgbClr val="0070C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728763" y="3636092"/>
              <a:ext cx="1059568" cy="415498"/>
            </a:xfrm>
            <a:prstGeom prst="rect">
              <a:avLst/>
            </a:prstGeom>
            <a:noFill/>
          </p:spPr>
          <p:txBody>
            <a:bodyPr wrap="square" rtlCol="0">
              <a:spAutoFit/>
            </a:bodyPr>
            <a:lstStyle/>
            <a:p>
              <a:pPr defTabSz="457200"/>
              <a:r>
                <a:rPr lang="en-GB" sz="1050" b="1" dirty="0">
                  <a:solidFill>
                    <a:srgbClr val="005CB9"/>
                  </a:solidFill>
                </a:rPr>
                <a:t>Supply reasons</a:t>
              </a:r>
            </a:p>
          </p:txBody>
        </p:sp>
        <p:sp>
          <p:nvSpPr>
            <p:cNvPr id="54" name="TextBox 53"/>
            <p:cNvSpPr txBox="1"/>
            <p:nvPr/>
          </p:nvSpPr>
          <p:spPr>
            <a:xfrm>
              <a:off x="7691188" y="2084419"/>
              <a:ext cx="897667" cy="415498"/>
            </a:xfrm>
            <a:prstGeom prst="rect">
              <a:avLst/>
            </a:prstGeom>
            <a:noFill/>
          </p:spPr>
          <p:txBody>
            <a:bodyPr wrap="square" rtlCol="0">
              <a:spAutoFit/>
            </a:bodyPr>
            <a:lstStyle/>
            <a:p>
              <a:pPr defTabSz="457200"/>
              <a:r>
                <a:rPr lang="en-GB" sz="1050" b="1" dirty="0">
                  <a:solidFill>
                    <a:srgbClr val="00A03A"/>
                  </a:solidFill>
                </a:rPr>
                <a:t>Demand reasons</a:t>
              </a:r>
            </a:p>
          </p:txBody>
        </p:sp>
      </p:grpSp>
    </p:spTree>
    <p:extLst>
      <p:ext uri="{BB962C8B-B14F-4D97-AF65-F5344CB8AC3E}">
        <p14:creationId xmlns:p14="http://schemas.microsoft.com/office/powerpoint/2010/main" val="169421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8CC12AE-189F-46E6-94BB-12FB54E35028}" type="slidenum">
              <a:rPr lang="en-US" smtClean="0"/>
              <a:t>7</a:t>
            </a:fld>
            <a:endParaRPr lang="en-US"/>
          </a:p>
        </p:txBody>
      </p:sp>
      <p:sp>
        <p:nvSpPr>
          <p:cNvPr id="7" name="Title 1"/>
          <p:cNvSpPr>
            <a:spLocks noGrp="1"/>
          </p:cNvSpPr>
          <p:nvPr>
            <p:ph type="title"/>
          </p:nvPr>
        </p:nvSpPr>
        <p:spPr>
          <a:xfrm>
            <a:off x="0" y="0"/>
            <a:ext cx="11439061" cy="1143000"/>
          </a:xfrm>
        </p:spPr>
        <p:txBody>
          <a:bodyPr>
            <a:normAutofit/>
          </a:bodyPr>
          <a:lstStyle/>
          <a:p>
            <a:pPr fontAlgn="base" hangingPunct="0"/>
            <a:r>
              <a:rPr lang="en-US" sz="3200" dirty="0"/>
              <a:t>Fed. Bosnia and Herzegovina</a:t>
            </a:r>
          </a:p>
        </p:txBody>
      </p:sp>
      <p:sp>
        <p:nvSpPr>
          <p:cNvPr id="5" name="TextBox 4"/>
          <p:cNvSpPr txBox="1"/>
          <p:nvPr/>
        </p:nvSpPr>
        <p:spPr>
          <a:xfrm>
            <a:off x="5041863" y="6516763"/>
            <a:ext cx="7104789" cy="297454"/>
          </a:xfrm>
          <a:prstGeom prst="rect">
            <a:avLst/>
          </a:prstGeom>
          <a:noFill/>
        </p:spPr>
        <p:txBody>
          <a:bodyPr wrap="square" rtlCol="0">
            <a:spAutoFit/>
          </a:bodyPr>
          <a:lstStyle/>
          <a:p>
            <a:pPr algn="r"/>
            <a:r>
              <a:rPr lang="da-DK" sz="1333" dirty="0">
                <a:solidFill>
                  <a:schemeClr val="bg1"/>
                </a:solidFill>
              </a:rPr>
              <a:t>Photo credits: Malin Bing/WHO all rights reservied</a:t>
            </a:r>
            <a:endParaRPr lang="en-US" sz="1333" dirty="0">
              <a:solidFill>
                <a:schemeClr val="bg1"/>
              </a:solidFill>
            </a:endParaRPr>
          </a:p>
        </p:txBody>
      </p:sp>
      <p:sp>
        <p:nvSpPr>
          <p:cNvPr id="8" name="TextBox 7"/>
          <p:cNvSpPr txBox="1"/>
          <p:nvPr/>
        </p:nvSpPr>
        <p:spPr>
          <a:xfrm>
            <a:off x="846473" y="5095956"/>
            <a:ext cx="5078945" cy="1528945"/>
          </a:xfrm>
          <a:prstGeom prst="rect">
            <a:avLst/>
          </a:prstGeom>
          <a:noFill/>
        </p:spPr>
        <p:txBody>
          <a:bodyPr wrap="square" rtlCol="0">
            <a:spAutoFit/>
          </a:bodyPr>
          <a:lstStyle/>
          <a:p>
            <a:endParaRPr lang="da-DK" sz="1867" b="1" dirty="0">
              <a:solidFill>
                <a:srgbClr val="00558E"/>
              </a:solidFill>
            </a:endParaRPr>
          </a:p>
          <a:p>
            <a:r>
              <a:rPr lang="da-DK" sz="1867" b="1" dirty="0">
                <a:solidFill>
                  <a:srgbClr val="00558E"/>
                </a:solidFill>
              </a:rPr>
              <a:t>Challenge: </a:t>
            </a:r>
          </a:p>
          <a:p>
            <a:r>
              <a:rPr lang="da-DK" sz="1867" dirty="0">
                <a:solidFill>
                  <a:srgbClr val="00558E"/>
                </a:solidFill>
              </a:rPr>
              <a:t>Low and rapidly declining coverage: MCV1 and Polio3 63% in 2016 </a:t>
            </a:r>
          </a:p>
          <a:p>
            <a:r>
              <a:rPr lang="da-DK" sz="1867" dirty="0">
                <a:solidFill>
                  <a:srgbClr val="00558E"/>
                </a:solidFill>
              </a:rPr>
              <a:t>(total population est. 3.5 million)</a:t>
            </a:r>
            <a:endParaRPr lang="en-US" sz="1867" dirty="0">
              <a:solidFill>
                <a:srgbClr val="00558E"/>
              </a:solidFill>
            </a:endParaRPr>
          </a:p>
        </p:txBody>
      </p:sp>
      <p:pic>
        <p:nvPicPr>
          <p:cNvPr id="9" name="Picture 2">
            <a:extLst>
              <a:ext uri="{FF2B5EF4-FFF2-40B4-BE49-F238E27FC236}">
                <a16:creationId xmlns:a16="http://schemas.microsoft.com/office/drawing/2014/main" id="{9509593F-2B18-4CC4-8195-E1BA412C3A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5201" y="1521200"/>
            <a:ext cx="10663599" cy="3815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5918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5733256"/>
            <a:ext cx="12192000" cy="1124744"/>
          </a:xfrm>
          <a:prstGeom prst="rect">
            <a:avLst/>
          </a:prstGeom>
          <a:solidFill>
            <a:schemeClr val="bg1"/>
          </a:solidFill>
          <a:ln>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621" tIns="60811" rIns="121621" bIns="60811" rtlCol="0" anchor="ctr"/>
          <a:lstStyle/>
          <a:p>
            <a:pPr algn="ctr" fontAlgn="base">
              <a:spcBef>
                <a:spcPct val="0"/>
              </a:spcBef>
              <a:spcAft>
                <a:spcPct val="0"/>
              </a:spcAft>
            </a:pPr>
            <a:endParaRPr lang="en-US" sz="2400" b="1" dirty="0">
              <a:solidFill>
                <a:srgbClr val="FFFFFF"/>
              </a:solidFill>
            </a:endParaRPr>
          </a:p>
        </p:txBody>
      </p:sp>
      <p:sp>
        <p:nvSpPr>
          <p:cNvPr id="2" name="Title 1"/>
          <p:cNvSpPr>
            <a:spLocks noGrp="1"/>
          </p:cNvSpPr>
          <p:nvPr>
            <p:ph type="title"/>
          </p:nvPr>
        </p:nvSpPr>
        <p:spPr>
          <a:xfrm>
            <a:off x="0" y="0"/>
            <a:ext cx="10515600" cy="1325563"/>
          </a:xfrm>
        </p:spPr>
        <p:txBody>
          <a:bodyPr>
            <a:normAutofit/>
          </a:bodyPr>
          <a:lstStyle/>
          <a:p>
            <a:pPr fontAlgn="base" hangingPunct="0"/>
            <a:r>
              <a:rPr lang="en-US" sz="3200" dirty="0"/>
              <a:t>Fed. Bosnia and Herzegovina </a:t>
            </a:r>
          </a:p>
        </p:txBody>
      </p:sp>
      <p:sp>
        <p:nvSpPr>
          <p:cNvPr id="3" name="Content Placeholder 2">
            <a:extLst>
              <a:ext uri="{FF2B5EF4-FFF2-40B4-BE49-F238E27FC236}">
                <a16:creationId xmlns:a16="http://schemas.microsoft.com/office/drawing/2014/main" id="{045F831A-8FBB-4EAC-90EB-B25517A0FA19}"/>
              </a:ext>
            </a:extLst>
          </p:cNvPr>
          <p:cNvSpPr>
            <a:spLocks noGrp="1"/>
          </p:cNvSpPr>
          <p:nvPr>
            <p:ph idx="1"/>
          </p:nvPr>
        </p:nvSpPr>
        <p:spPr>
          <a:xfrm>
            <a:off x="609600" y="1600205"/>
            <a:ext cx="10972800" cy="5257795"/>
          </a:xfrm>
        </p:spPr>
        <p:txBody>
          <a:bodyPr>
            <a:normAutofit fontScale="85000" lnSpcReduction="10000"/>
          </a:bodyPr>
          <a:lstStyle/>
          <a:p>
            <a:pPr marL="0" indent="0">
              <a:buNone/>
            </a:pPr>
            <a:r>
              <a:rPr lang="da-DK" dirty="0"/>
              <a:t>Reasons for low </a:t>
            </a:r>
            <a:r>
              <a:rPr lang="da-DK" dirty="0" err="1"/>
              <a:t>uptake</a:t>
            </a:r>
            <a:r>
              <a:rPr lang="da-DK" dirty="0"/>
              <a:t>: (WHO/EURO, TIP 2018)</a:t>
            </a:r>
          </a:p>
          <a:p>
            <a:endParaRPr lang="da-DK" dirty="0"/>
          </a:p>
          <a:p>
            <a:pPr marL="228594" indent="-228594"/>
            <a:r>
              <a:rPr lang="en-US" dirty="0"/>
              <a:t>Urban parents, well informed but likely to want alternative medicine and not trust vaccination safety and authorities</a:t>
            </a:r>
          </a:p>
          <a:p>
            <a:pPr marL="228594" indent="-228594"/>
            <a:r>
              <a:rPr lang="en-US" dirty="0"/>
              <a:t>No system for monitoring, recording un-/under-/delayed vaccination</a:t>
            </a:r>
          </a:p>
          <a:p>
            <a:pPr marL="228594" indent="-228594"/>
            <a:r>
              <a:rPr lang="en-US" dirty="0"/>
              <a:t>No system for call/reminders</a:t>
            </a:r>
          </a:p>
          <a:p>
            <a:pPr marL="228594" indent="-228594"/>
            <a:r>
              <a:rPr lang="en-US" dirty="0"/>
              <a:t>Roma, low-education and lack of trust of authority</a:t>
            </a:r>
          </a:p>
          <a:p>
            <a:pPr marL="228594" indent="-228594"/>
            <a:r>
              <a:rPr lang="da-DK" dirty="0" err="1"/>
              <a:t>Confusion</a:t>
            </a:r>
            <a:r>
              <a:rPr lang="da-DK" dirty="0"/>
              <a:t> </a:t>
            </a:r>
            <a:r>
              <a:rPr lang="da-DK" dirty="0" err="1"/>
              <a:t>among</a:t>
            </a:r>
            <a:r>
              <a:rPr lang="da-DK" dirty="0"/>
              <a:t> </a:t>
            </a:r>
            <a:r>
              <a:rPr lang="da-DK" dirty="0" err="1"/>
              <a:t>health</a:t>
            </a:r>
            <a:r>
              <a:rPr lang="da-DK" dirty="0"/>
              <a:t> </a:t>
            </a:r>
            <a:r>
              <a:rPr lang="da-DK" dirty="0" err="1"/>
              <a:t>workers</a:t>
            </a:r>
            <a:r>
              <a:rPr lang="da-DK" dirty="0"/>
              <a:t> </a:t>
            </a:r>
            <a:r>
              <a:rPr lang="da-DK" dirty="0" err="1"/>
              <a:t>regarding</a:t>
            </a:r>
            <a:r>
              <a:rPr lang="da-DK" dirty="0"/>
              <a:t> </a:t>
            </a:r>
            <a:r>
              <a:rPr lang="da-DK" dirty="0" err="1"/>
              <a:t>laws</a:t>
            </a:r>
            <a:r>
              <a:rPr lang="da-DK" dirty="0"/>
              <a:t> and provisions </a:t>
            </a:r>
            <a:r>
              <a:rPr lang="da-DK" dirty="0" err="1"/>
              <a:t>related</a:t>
            </a:r>
            <a:r>
              <a:rPr lang="da-DK" dirty="0"/>
              <a:t> to vaccination</a:t>
            </a:r>
          </a:p>
          <a:p>
            <a:pPr marL="228594" indent="-228594"/>
            <a:r>
              <a:rPr lang="da-DK" dirty="0"/>
              <a:t>Mandatory vaccination not </a:t>
            </a:r>
            <a:r>
              <a:rPr lang="da-DK" dirty="0" err="1"/>
              <a:t>being</a:t>
            </a:r>
            <a:r>
              <a:rPr lang="da-DK" dirty="0"/>
              <a:t> </a:t>
            </a:r>
            <a:r>
              <a:rPr lang="da-DK" dirty="0" err="1"/>
              <a:t>implemented</a:t>
            </a:r>
            <a:r>
              <a:rPr lang="da-DK" dirty="0"/>
              <a:t> – an </a:t>
            </a:r>
            <a:r>
              <a:rPr lang="da-DK" dirty="0" err="1"/>
              <a:t>empty</a:t>
            </a:r>
            <a:r>
              <a:rPr lang="da-DK" dirty="0"/>
              <a:t> </a:t>
            </a:r>
            <a:r>
              <a:rPr lang="da-DK" dirty="0" err="1"/>
              <a:t>threat</a:t>
            </a:r>
            <a:endParaRPr lang="da-DK" dirty="0"/>
          </a:p>
          <a:p>
            <a:pPr marL="228594" indent="-228594"/>
            <a:r>
              <a:rPr lang="da-DK" dirty="0"/>
              <a:t>Low </a:t>
            </a:r>
            <a:r>
              <a:rPr lang="da-DK" dirty="0" err="1"/>
              <a:t>knowledge</a:t>
            </a:r>
            <a:r>
              <a:rPr lang="da-DK" dirty="0"/>
              <a:t> (vaccination, VPD, vaccine </a:t>
            </a:r>
            <a:r>
              <a:rPr lang="da-DK" dirty="0" err="1"/>
              <a:t>safety</a:t>
            </a:r>
            <a:r>
              <a:rPr lang="da-DK" dirty="0"/>
              <a:t>) </a:t>
            </a:r>
            <a:r>
              <a:rPr lang="da-DK" dirty="0" err="1"/>
              <a:t>among</a:t>
            </a:r>
            <a:r>
              <a:rPr lang="da-DK" dirty="0"/>
              <a:t> </a:t>
            </a:r>
            <a:r>
              <a:rPr lang="da-DK" dirty="0" err="1"/>
              <a:t>some</a:t>
            </a:r>
            <a:r>
              <a:rPr lang="da-DK" dirty="0"/>
              <a:t> </a:t>
            </a:r>
            <a:r>
              <a:rPr lang="da-DK" dirty="0" err="1"/>
              <a:t>health</a:t>
            </a:r>
            <a:r>
              <a:rPr lang="da-DK" dirty="0"/>
              <a:t> </a:t>
            </a:r>
            <a:r>
              <a:rPr lang="da-DK" dirty="0" err="1"/>
              <a:t>workers</a:t>
            </a:r>
            <a:endParaRPr lang="da-DK" dirty="0"/>
          </a:p>
          <a:p>
            <a:pPr marL="0" indent="0">
              <a:buNone/>
            </a:pPr>
            <a:endParaRPr lang="da-DK" dirty="0"/>
          </a:p>
          <a:p>
            <a:pPr marL="228594" indent="-228594"/>
            <a:r>
              <a:rPr lang="da-DK" dirty="0" err="1"/>
              <a:t>Sentiment</a:t>
            </a:r>
            <a:r>
              <a:rPr lang="da-DK" dirty="0"/>
              <a:t> </a:t>
            </a:r>
            <a:r>
              <a:rPr lang="da-DK" dirty="0" err="1"/>
              <a:t>among</a:t>
            </a:r>
            <a:r>
              <a:rPr lang="da-DK" dirty="0"/>
              <a:t> </a:t>
            </a:r>
            <a:r>
              <a:rPr lang="da-DK" dirty="0" err="1"/>
              <a:t>health</a:t>
            </a:r>
            <a:r>
              <a:rPr lang="da-DK" dirty="0"/>
              <a:t> </a:t>
            </a:r>
            <a:r>
              <a:rPr lang="da-DK" dirty="0" err="1"/>
              <a:t>workers</a:t>
            </a:r>
            <a:r>
              <a:rPr lang="da-DK" dirty="0"/>
              <a:t> of </a:t>
            </a:r>
            <a:r>
              <a:rPr lang="da-DK" dirty="0" err="1"/>
              <a:t>being</a:t>
            </a:r>
            <a:r>
              <a:rPr lang="da-DK" dirty="0"/>
              <a:t> </a:t>
            </a:r>
            <a:r>
              <a:rPr lang="da-DK" dirty="0" err="1"/>
              <a:t>left</a:t>
            </a:r>
            <a:r>
              <a:rPr lang="da-DK" dirty="0"/>
              <a:t> </a:t>
            </a:r>
            <a:r>
              <a:rPr lang="da-DK" dirty="0" err="1"/>
              <a:t>alone</a:t>
            </a:r>
            <a:r>
              <a:rPr lang="da-DK" dirty="0"/>
              <a:t> and </a:t>
            </a:r>
            <a:r>
              <a:rPr lang="da-DK" dirty="0" err="1"/>
              <a:t>unsupported</a:t>
            </a:r>
            <a:r>
              <a:rPr lang="da-DK" dirty="0"/>
              <a:t> by </a:t>
            </a:r>
            <a:r>
              <a:rPr lang="da-DK" dirty="0" err="1"/>
              <a:t>health</a:t>
            </a:r>
            <a:r>
              <a:rPr lang="da-DK" dirty="0"/>
              <a:t> system</a:t>
            </a:r>
            <a:endParaRPr lang="LID4096" dirty="0"/>
          </a:p>
        </p:txBody>
      </p:sp>
      <p:sp>
        <p:nvSpPr>
          <p:cNvPr id="4" name="Slide Number Placeholder 3"/>
          <p:cNvSpPr>
            <a:spLocks noGrp="1"/>
          </p:cNvSpPr>
          <p:nvPr>
            <p:ph type="sldNum" sz="quarter" idx="12"/>
          </p:nvPr>
        </p:nvSpPr>
        <p:spPr/>
        <p:txBody>
          <a:bodyPr/>
          <a:lstStyle/>
          <a:p>
            <a:fld id="{08CC12AE-189F-46E6-94BB-12FB54E35028}" type="slidenum">
              <a:rPr lang="en-US" smtClean="0"/>
              <a:t>8</a:t>
            </a:fld>
            <a:endParaRPr lang="en-US" dirty="0"/>
          </a:p>
        </p:txBody>
      </p:sp>
      <p:sp>
        <p:nvSpPr>
          <p:cNvPr id="12" name="Slide Number Placeholder 3"/>
          <p:cNvSpPr txBox="1">
            <a:spLocks/>
          </p:cNvSpPr>
          <p:nvPr/>
        </p:nvSpPr>
        <p:spPr>
          <a:xfrm>
            <a:off x="8737600" y="6356352"/>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CC12AE-189F-46E6-94BB-12FB54E35028}" type="slidenum">
              <a:rPr lang="en-US" sz="1600"/>
              <a:pPr/>
              <a:t>8</a:t>
            </a:fld>
            <a:endParaRPr lang="en-US" sz="1600"/>
          </a:p>
        </p:txBody>
      </p:sp>
      <p:sp>
        <p:nvSpPr>
          <p:cNvPr id="13" name="Rectangle 12"/>
          <p:cNvSpPr/>
          <p:nvPr/>
        </p:nvSpPr>
        <p:spPr>
          <a:xfrm>
            <a:off x="0" y="5733256"/>
            <a:ext cx="12192000" cy="1124744"/>
          </a:xfrm>
          <a:prstGeom prst="rect">
            <a:avLst/>
          </a:prstGeom>
          <a:solidFill>
            <a:schemeClr val="bg1"/>
          </a:solidFill>
          <a:ln>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621" tIns="60811" rIns="121621" bIns="60811" rtlCol="0" anchor="ctr"/>
          <a:lstStyle/>
          <a:p>
            <a:pPr algn="ctr" fontAlgn="base">
              <a:spcBef>
                <a:spcPct val="0"/>
              </a:spcBef>
              <a:spcAft>
                <a:spcPct val="0"/>
              </a:spcAft>
            </a:pPr>
            <a:endParaRPr lang="en-US" sz="2400" b="1" dirty="0">
              <a:solidFill>
                <a:srgbClr val="FFFFFF"/>
              </a:solidFill>
            </a:endParaRPr>
          </a:p>
        </p:txBody>
      </p:sp>
      <p:sp>
        <p:nvSpPr>
          <p:cNvPr id="14" name="Slide Number Placeholder 3"/>
          <p:cNvSpPr txBox="1">
            <a:spLocks/>
          </p:cNvSpPr>
          <p:nvPr/>
        </p:nvSpPr>
        <p:spPr>
          <a:xfrm>
            <a:off x="8737600" y="6356352"/>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CC12AE-189F-46E6-94BB-12FB54E35028}" type="slidenum">
              <a:rPr lang="en-US" sz="1600"/>
              <a:pPr/>
              <a:t>8</a:t>
            </a:fld>
            <a:endParaRPr lang="en-US" sz="1600" dirty="0"/>
          </a:p>
        </p:txBody>
      </p:sp>
    </p:spTree>
    <p:extLst>
      <p:ext uri="{BB962C8B-B14F-4D97-AF65-F5344CB8AC3E}">
        <p14:creationId xmlns:p14="http://schemas.microsoft.com/office/powerpoint/2010/main" val="232246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8CC12AE-189F-46E6-94BB-12FB54E35028}" type="slidenum">
              <a:rPr lang="en-US" smtClean="0"/>
              <a:t>9</a:t>
            </a:fld>
            <a:endParaRPr lang="en-US"/>
          </a:p>
        </p:txBody>
      </p:sp>
      <p:sp>
        <p:nvSpPr>
          <p:cNvPr id="7" name="Title 1"/>
          <p:cNvSpPr>
            <a:spLocks noGrp="1"/>
          </p:cNvSpPr>
          <p:nvPr>
            <p:ph type="title"/>
          </p:nvPr>
        </p:nvSpPr>
        <p:spPr>
          <a:xfrm>
            <a:off x="0" y="0"/>
            <a:ext cx="11439061" cy="1143000"/>
          </a:xfrm>
        </p:spPr>
        <p:txBody>
          <a:bodyPr>
            <a:normAutofit/>
          </a:bodyPr>
          <a:lstStyle/>
          <a:p>
            <a:pPr fontAlgn="base" hangingPunct="0"/>
            <a:r>
              <a:rPr lang="en-US" sz="3200" dirty="0"/>
              <a:t>Australia, NSW</a:t>
            </a:r>
          </a:p>
        </p:txBody>
      </p:sp>
      <p:pic>
        <p:nvPicPr>
          <p:cNvPr id="1026" name="Picture 2" descr="Image result for maitland new south wales children">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61721"/>
            <a:ext cx="12192000" cy="59134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536160" y="6501342"/>
            <a:ext cx="4320480" cy="297454"/>
          </a:xfrm>
          <a:prstGeom prst="rect">
            <a:avLst/>
          </a:prstGeom>
          <a:noFill/>
        </p:spPr>
        <p:txBody>
          <a:bodyPr wrap="square" rtlCol="0">
            <a:spAutoFit/>
          </a:bodyPr>
          <a:lstStyle/>
          <a:p>
            <a:pPr algn="r"/>
            <a:r>
              <a:rPr lang="da-DK" sz="1333" dirty="0">
                <a:solidFill>
                  <a:schemeClr val="bg1"/>
                </a:solidFill>
              </a:rPr>
              <a:t>Photo credit:Kinda Kapers </a:t>
            </a:r>
            <a:endParaRPr lang="en-US" sz="1333" dirty="0">
              <a:solidFill>
                <a:schemeClr val="bg1"/>
              </a:solidFill>
            </a:endParaRPr>
          </a:p>
        </p:txBody>
      </p:sp>
      <p:sp>
        <p:nvSpPr>
          <p:cNvPr id="8" name="TextBox 7"/>
          <p:cNvSpPr txBox="1"/>
          <p:nvPr/>
        </p:nvSpPr>
        <p:spPr>
          <a:xfrm>
            <a:off x="9155575" y="1331"/>
            <a:ext cx="3141569" cy="1528945"/>
          </a:xfrm>
          <a:prstGeom prst="rect">
            <a:avLst/>
          </a:prstGeom>
          <a:noFill/>
        </p:spPr>
        <p:txBody>
          <a:bodyPr wrap="square" rtlCol="0">
            <a:spAutoFit/>
          </a:bodyPr>
          <a:lstStyle/>
          <a:p>
            <a:r>
              <a:rPr lang="da-DK" sz="1867" b="1" dirty="0">
                <a:solidFill>
                  <a:srgbClr val="00558E"/>
                </a:solidFill>
              </a:rPr>
              <a:t>Challenge: </a:t>
            </a:r>
          </a:p>
          <a:p>
            <a:r>
              <a:rPr lang="da-DK" sz="1867" dirty="0">
                <a:solidFill>
                  <a:srgbClr val="00558E"/>
                </a:solidFill>
              </a:rPr>
              <a:t>Low coverage: 38% of 1-year-olds not fully immunized in East-West Maitland, New South Wales, Australia</a:t>
            </a:r>
            <a:endParaRPr lang="en-US" sz="1867" dirty="0">
              <a:solidFill>
                <a:srgbClr val="00558E"/>
              </a:solidFill>
            </a:endParaRPr>
          </a:p>
        </p:txBody>
      </p:sp>
    </p:spTree>
    <p:extLst>
      <p:ext uri="{BB962C8B-B14F-4D97-AF65-F5344CB8AC3E}">
        <p14:creationId xmlns:p14="http://schemas.microsoft.com/office/powerpoint/2010/main" val="3439560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F2XLimCa0O_jWOrNxN2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zdi7nEMh0u121HioeY6_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YCRhAdmvECY_MTdWiKCo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Uyp3.BMiUK2wAeQazEH6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ATVA3Fc20W0Kns.jvK4I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Cxi.L9fI0qcXGm3oeY_9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AIllsW5_EKi2OBFJUjC7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UCOhU6u80icnxfUKJv.R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XRvjrhAtkOtIXUXVq7S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VRtLjvD80CEs4r_DyTmG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h.LDAETcEm2KmUylC_81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eHC1PDxl0adJ4M7tXzC8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YDH1Z2CUWNjW4oDtda1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bHyU_zwgUizLuJC9R33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GWu4HABiU.Y4ksGcUIi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tlMJofBXkmw6eyeACMf6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90n6QVwA0e4JNokC0KL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ROhzQ6AwEi1DFW_ExgT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zdi7nEMh0u121HioeY6_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63</TotalTime>
  <Words>1776</Words>
  <Application>Microsoft Office PowerPoint</Application>
  <PresentationFormat>Widescreen</PresentationFormat>
  <Paragraphs>366</Paragraphs>
  <Slides>17</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Arial Unicode MS</vt:lpstr>
      <vt:lpstr>Calibri</vt:lpstr>
      <vt:lpstr>Calibri Light</vt:lpstr>
      <vt:lpstr>Gill Sans MT</vt:lpstr>
      <vt:lpstr>Trebuchet MS</vt:lpstr>
      <vt:lpstr>Wingdings</vt:lpstr>
      <vt:lpstr>Office Theme</vt:lpstr>
      <vt:lpstr>think-cell Slide</vt:lpstr>
      <vt:lpstr>PowerPoint Presentation</vt:lpstr>
      <vt:lpstr>PowerPoint Presentation</vt:lpstr>
      <vt:lpstr>Routine Immunization System</vt:lpstr>
      <vt:lpstr>PowerPoint Presentation</vt:lpstr>
      <vt:lpstr>PowerPoint Presentation</vt:lpstr>
      <vt:lpstr>PowerPoint Presentation</vt:lpstr>
      <vt:lpstr>Fed. Bosnia and Herzegovina</vt:lpstr>
      <vt:lpstr>Fed. Bosnia and Herzegovina </vt:lpstr>
      <vt:lpstr>Australia, NSW</vt:lpstr>
      <vt:lpstr>Australia, NSW </vt:lpstr>
      <vt:lpstr>Percent Disagreeing with the Statement, “Overall I think vaccines are safe”</vt:lpstr>
      <vt:lpstr>PowerPoint Presentation</vt:lpstr>
      <vt:lpstr>The journey to immunization – what are the barriers?</vt:lpstr>
      <vt:lpstr>and a (collective) need to move beyond a deficit model</vt:lpstr>
      <vt:lpstr>Generating demand requires more than communication </vt:lpstr>
      <vt:lpstr>The vaccination behavior continuu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b Butler</dc:creator>
  <cp:lastModifiedBy>Noe, James</cp:lastModifiedBy>
  <cp:revision>144</cp:revision>
  <dcterms:created xsi:type="dcterms:W3CDTF">2018-12-06T15:06:50Z</dcterms:created>
  <dcterms:modified xsi:type="dcterms:W3CDTF">2019-09-12T15:03:37Z</dcterms:modified>
</cp:coreProperties>
</file>